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70"/>
  </p:notesMasterIdLst>
  <p:handoutMasterIdLst>
    <p:handoutMasterId r:id="rId71"/>
  </p:handoutMasterIdLst>
  <p:sldIdLst>
    <p:sldId id="800" r:id="rId5"/>
    <p:sldId id="681" r:id="rId6"/>
    <p:sldId id="682" r:id="rId7"/>
    <p:sldId id="689" r:id="rId8"/>
    <p:sldId id="695" r:id="rId9"/>
    <p:sldId id="749" r:id="rId10"/>
    <p:sldId id="750" r:id="rId11"/>
    <p:sldId id="751" r:id="rId12"/>
    <p:sldId id="710" r:id="rId13"/>
    <p:sldId id="704" r:id="rId14"/>
    <p:sldId id="733" r:id="rId15"/>
    <p:sldId id="778" r:id="rId16"/>
    <p:sldId id="752" r:id="rId17"/>
    <p:sldId id="754" r:id="rId18"/>
    <p:sldId id="739" r:id="rId19"/>
    <p:sldId id="734" r:id="rId20"/>
    <p:sldId id="668" r:id="rId21"/>
    <p:sldId id="735" r:id="rId22"/>
    <p:sldId id="736" r:id="rId23"/>
    <p:sldId id="790" r:id="rId24"/>
    <p:sldId id="791" r:id="rId25"/>
    <p:sldId id="779" r:id="rId26"/>
    <p:sldId id="755" r:id="rId27"/>
    <p:sldId id="757" r:id="rId28"/>
    <p:sldId id="740" r:id="rId29"/>
    <p:sldId id="780" r:id="rId30"/>
    <p:sldId id="737" r:id="rId31"/>
    <p:sldId id="742" r:id="rId32"/>
    <p:sldId id="743" r:id="rId33"/>
    <p:sldId id="788" r:id="rId34"/>
    <p:sldId id="789" r:id="rId35"/>
    <p:sldId id="781" r:id="rId36"/>
    <p:sldId id="782" r:id="rId37"/>
    <p:sldId id="758" r:id="rId38"/>
    <p:sldId id="759" r:id="rId39"/>
    <p:sldId id="761" r:id="rId40"/>
    <p:sldId id="683" r:id="rId41"/>
    <p:sldId id="687" r:id="rId42"/>
    <p:sldId id="744" r:id="rId43"/>
    <p:sldId id="748" r:id="rId44"/>
    <p:sldId id="745" r:id="rId45"/>
    <p:sldId id="746" r:id="rId46"/>
    <p:sldId id="747" r:id="rId47"/>
    <p:sldId id="783" r:id="rId48"/>
    <p:sldId id="762" r:id="rId49"/>
    <p:sldId id="784" r:id="rId50"/>
    <p:sldId id="765" r:id="rId51"/>
    <p:sldId id="785" r:id="rId52"/>
    <p:sldId id="763" r:id="rId53"/>
    <p:sldId id="716" r:id="rId54"/>
    <p:sldId id="714" r:id="rId55"/>
    <p:sldId id="711" r:id="rId56"/>
    <p:sldId id="766" r:id="rId57"/>
    <p:sldId id="697" r:id="rId58"/>
    <p:sldId id="767" r:id="rId59"/>
    <p:sldId id="712" r:id="rId60"/>
    <p:sldId id="769" r:id="rId61"/>
    <p:sldId id="770" r:id="rId62"/>
    <p:sldId id="771" r:id="rId63"/>
    <p:sldId id="786" r:id="rId64"/>
    <p:sldId id="773" r:id="rId65"/>
    <p:sldId id="787" r:id="rId66"/>
    <p:sldId id="775" r:id="rId67"/>
    <p:sldId id="774" r:id="rId68"/>
    <p:sldId id="692" r:id="rId69"/>
  </p:sldIdLst>
  <p:sldSz cx="12192000" cy="6858000"/>
  <p:notesSz cx="6858000" cy="9144000"/>
  <p:defaultTextStyle>
    <a:defPPr>
      <a:defRPr lang="en-US"/>
    </a:defPPr>
    <a:lvl1pPr marL="0" algn="l" defTabSz="325892" rtl="0" eaLnBrk="1" latinLnBrk="0" hangingPunct="1">
      <a:defRPr sz="1283" kern="1200">
        <a:solidFill>
          <a:schemeClr val="tx1"/>
        </a:solidFill>
        <a:latin typeface="+mn-lt"/>
        <a:ea typeface="+mn-ea"/>
        <a:cs typeface="+mn-cs"/>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82496B7-485F-7B69-F7DE-F8CDD527168F}" name="Paula Whyte ( Momentum Consulting )" initials="PW" userId="S::paula@momentumconsulting.ie::a1b8e930-d272-4933-b1a2-fcb29f5bf11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8220"/>
    <a:srgbClr val="0F486D"/>
    <a:srgbClr val="60BA47"/>
    <a:srgbClr val="F36C2F"/>
    <a:srgbClr val="DB176A"/>
    <a:srgbClr val="F99F27"/>
    <a:srgbClr val="E87A33"/>
    <a:srgbClr val="1D93D1"/>
    <a:srgbClr val="2094D2"/>
    <a:srgbClr val="1149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3934"/>
  </p:normalViewPr>
  <p:slideViewPr>
    <p:cSldViewPr snapToGrid="0" snapToObjects="1">
      <p:cViewPr varScale="1">
        <p:scale>
          <a:sx n="63" d="100"/>
          <a:sy n="63" d="100"/>
        </p:scale>
        <p:origin x="916" y="32"/>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71" d="100"/>
          <a:sy n="71" d="100"/>
        </p:scale>
        <p:origin x="2448"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microsoft.com/office/2018/10/relationships/authors" Target="authors.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7E7518-D7D3-A342-B9A1-57B91EA8AD9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9238D92-CE55-1642-B171-5E9305F007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378577-8B88-EE4C-8516-6703E5E700B5}" type="datetimeFigureOut">
              <a:rPr lang="en-US" smtClean="0"/>
              <a:t>5/16/2025</a:t>
            </a:fld>
            <a:endParaRPr lang="en-US" dirty="0"/>
          </a:p>
        </p:txBody>
      </p:sp>
      <p:sp>
        <p:nvSpPr>
          <p:cNvPr id="4" name="Footer Placeholder 3">
            <a:extLst>
              <a:ext uri="{FF2B5EF4-FFF2-40B4-BE49-F238E27FC236}">
                <a16:creationId xmlns:a16="http://schemas.microsoft.com/office/drawing/2014/main" id="{294DC253-90BB-9447-B456-77404052F1D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E73BA3A-C6D1-EB41-8906-A8CC76B3C0A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09957D-E1A3-9D46-BB8D-8C509470EB58}" type="slidenum">
              <a:rPr lang="en-US" smtClean="0"/>
              <a:t>‹#›</a:t>
            </a:fld>
            <a:endParaRPr lang="en-US" dirty="0"/>
          </a:p>
        </p:txBody>
      </p:sp>
    </p:spTree>
    <p:extLst>
      <p:ext uri="{BB962C8B-B14F-4D97-AF65-F5344CB8AC3E}">
        <p14:creationId xmlns:p14="http://schemas.microsoft.com/office/powerpoint/2010/main" val="152892645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E1DF58-7EE3-C448-983E-EBFA8BC3FAB5}" type="datetimeFigureOut">
              <a:rPr lang="en-US" smtClean="0"/>
              <a:t>5/16/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aster-Textstile bearbeiten</a:t>
            </a:r>
          </a:p>
          <a:p>
            <a:pPr lvl="1"/>
            <a:r>
              <a:rPr lang="en-US"/>
              <a:t>Zweite Ebene</a:t>
            </a:r>
          </a:p>
          <a:p>
            <a:pPr lvl="2"/>
            <a:r>
              <a:rPr lang="en-US"/>
              <a:t>Dritte Ebene</a:t>
            </a:r>
          </a:p>
          <a:p>
            <a:pPr lvl="3"/>
            <a:r>
              <a:rPr lang="en-US"/>
              <a:t>Vierte Ebene</a:t>
            </a:r>
          </a:p>
          <a:p>
            <a:pPr lvl="4"/>
            <a:r>
              <a:rPr lang="en-US"/>
              <a:t>Fünfte Ebene</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75372A-F483-BF4C-A311-87AB670BD6E8}" type="slidenum">
              <a:rPr lang="en-US" smtClean="0"/>
              <a:t>‹#›</a:t>
            </a:fld>
            <a:endParaRPr lang="en-US" dirty="0"/>
          </a:p>
        </p:txBody>
      </p:sp>
    </p:spTree>
    <p:extLst>
      <p:ext uri="{BB962C8B-B14F-4D97-AF65-F5344CB8AC3E}">
        <p14:creationId xmlns:p14="http://schemas.microsoft.com/office/powerpoint/2010/main" val="1810596504"/>
      </p:ext>
    </p:extLst>
  </p:cSld>
  <p:clrMap bg1="lt1" tx1="dk1" bg2="lt2" tx2="dk2" accent1="accent1" accent2="accent2" accent3="accent3" accent4="accent4" accent5="accent5" accent6="accent6" hlink="hlink" folHlink="folHlink"/>
  <p:hf sldNum="0" hdr="0" ftr="0" dt="0"/>
  <p:notesStyle>
    <a:lvl1pPr marL="0" algn="l" defTabSz="875998" rtl="0" eaLnBrk="1" latinLnBrk="0" hangingPunct="1">
      <a:defRPr sz="1150" kern="1200">
        <a:solidFill>
          <a:schemeClr val="tx1"/>
        </a:solidFill>
        <a:latin typeface="+mn-lt"/>
        <a:ea typeface="+mn-ea"/>
        <a:cs typeface="+mn-cs"/>
      </a:defRPr>
    </a:lvl1pPr>
    <a:lvl2pPr marL="437999" algn="l" defTabSz="875998" rtl="0" eaLnBrk="1" latinLnBrk="0" hangingPunct="1">
      <a:defRPr sz="1150" kern="1200">
        <a:solidFill>
          <a:schemeClr val="tx1"/>
        </a:solidFill>
        <a:latin typeface="+mn-lt"/>
        <a:ea typeface="+mn-ea"/>
        <a:cs typeface="+mn-cs"/>
      </a:defRPr>
    </a:lvl2pPr>
    <a:lvl3pPr marL="875998" algn="l" defTabSz="875998" rtl="0" eaLnBrk="1" latinLnBrk="0" hangingPunct="1">
      <a:defRPr sz="1150" kern="1200">
        <a:solidFill>
          <a:schemeClr val="tx1"/>
        </a:solidFill>
        <a:latin typeface="+mn-lt"/>
        <a:ea typeface="+mn-ea"/>
        <a:cs typeface="+mn-cs"/>
      </a:defRPr>
    </a:lvl3pPr>
    <a:lvl4pPr marL="1313997" algn="l" defTabSz="875998" rtl="0" eaLnBrk="1" latinLnBrk="0" hangingPunct="1">
      <a:defRPr sz="1150" kern="1200">
        <a:solidFill>
          <a:schemeClr val="tx1"/>
        </a:solidFill>
        <a:latin typeface="+mn-lt"/>
        <a:ea typeface="+mn-ea"/>
        <a:cs typeface="+mn-cs"/>
      </a:defRPr>
    </a:lvl4pPr>
    <a:lvl5pPr marL="1751996" algn="l" defTabSz="875998" rtl="0" eaLnBrk="1" latinLnBrk="0" hangingPunct="1">
      <a:defRPr sz="1150" kern="1200">
        <a:solidFill>
          <a:schemeClr val="tx1"/>
        </a:solidFill>
        <a:latin typeface="+mn-lt"/>
        <a:ea typeface="+mn-ea"/>
        <a:cs typeface="+mn-cs"/>
      </a:defRPr>
    </a:lvl5pPr>
    <a:lvl6pPr marL="2189995" algn="l" defTabSz="875998" rtl="0" eaLnBrk="1" latinLnBrk="0" hangingPunct="1">
      <a:defRPr sz="1150" kern="1200">
        <a:solidFill>
          <a:schemeClr val="tx1"/>
        </a:solidFill>
        <a:latin typeface="+mn-lt"/>
        <a:ea typeface="+mn-ea"/>
        <a:cs typeface="+mn-cs"/>
      </a:defRPr>
    </a:lvl6pPr>
    <a:lvl7pPr marL="2627995" algn="l" defTabSz="875998" rtl="0" eaLnBrk="1" latinLnBrk="0" hangingPunct="1">
      <a:defRPr sz="1150" kern="1200">
        <a:solidFill>
          <a:schemeClr val="tx1"/>
        </a:solidFill>
        <a:latin typeface="+mn-lt"/>
        <a:ea typeface="+mn-ea"/>
        <a:cs typeface="+mn-cs"/>
      </a:defRPr>
    </a:lvl7pPr>
    <a:lvl8pPr marL="3065994" algn="l" defTabSz="875998" rtl="0" eaLnBrk="1" latinLnBrk="0" hangingPunct="1">
      <a:defRPr sz="1150" kern="1200">
        <a:solidFill>
          <a:schemeClr val="tx1"/>
        </a:solidFill>
        <a:latin typeface="+mn-lt"/>
        <a:ea typeface="+mn-ea"/>
        <a:cs typeface="+mn-cs"/>
      </a:defRPr>
    </a:lvl8pPr>
    <a:lvl9pPr marL="3503992" algn="l" defTabSz="875998" rtl="0" eaLnBrk="1" latinLnBrk="0" hangingPunct="1">
      <a:defRPr sz="11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38078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221177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62291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1764679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7713075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108418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855213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359784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78562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85528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559616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417664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Tree>
    <p:extLst>
      <p:ext uri="{BB962C8B-B14F-4D97-AF65-F5344CB8AC3E}">
        <p14:creationId xmlns:p14="http://schemas.microsoft.com/office/powerpoint/2010/main" val="1548084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18821230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794611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3214908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Tree>
    <p:extLst>
      <p:ext uri="{BB962C8B-B14F-4D97-AF65-F5344CB8AC3E}">
        <p14:creationId xmlns:p14="http://schemas.microsoft.com/office/powerpoint/2010/main" val="22878276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01">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2493589-430F-B785-BC26-0C4DA22CEB55}"/>
              </a:ext>
            </a:extLst>
          </p:cNvPr>
          <p:cNvSpPr/>
          <p:nvPr userDrawn="1"/>
        </p:nvSpPr>
        <p:spPr>
          <a:xfrm>
            <a:off x="894621" y="3354"/>
            <a:ext cx="4052477" cy="389345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1" name="Freeform 10">
            <a:extLst>
              <a:ext uri="{FF2B5EF4-FFF2-40B4-BE49-F238E27FC236}">
                <a16:creationId xmlns:a16="http://schemas.microsoft.com/office/drawing/2014/main" id="{0121DBA3-08D2-1337-EDEB-01D14E7869BC}"/>
              </a:ext>
            </a:extLst>
          </p:cNvPr>
          <p:cNvSpPr/>
          <p:nvPr userDrawn="1"/>
        </p:nvSpPr>
        <p:spPr>
          <a:xfrm>
            <a:off x="8058541" y="4455275"/>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163" name="Picture Placeholder 166">
            <a:extLst>
              <a:ext uri="{FF2B5EF4-FFF2-40B4-BE49-F238E27FC236}">
                <a16:creationId xmlns:a16="http://schemas.microsoft.com/office/drawing/2014/main" id="{8576E01D-F3B8-44FF-FE85-6D11D63B2D77}"/>
              </a:ext>
            </a:extLst>
          </p:cNvPr>
          <p:cNvSpPr>
            <a:spLocks noGrp="1"/>
          </p:cNvSpPr>
          <p:nvPr>
            <p:ph type="pic" sz="quarter" idx="44"/>
          </p:nvPr>
        </p:nvSpPr>
        <p:spPr>
          <a:xfrm>
            <a:off x="446723" y="3355"/>
            <a:ext cx="11251935" cy="4624906"/>
          </a:xfrm>
          <a:custGeom>
            <a:avLst/>
            <a:gdLst>
              <a:gd name="connsiteX0" fmla="*/ 0 w 11251935"/>
              <a:gd name="connsiteY0" fmla="*/ 0 h 4624906"/>
              <a:gd name="connsiteX1" fmla="*/ 447898 w 11251935"/>
              <a:gd name="connsiteY1" fmla="*/ 0 h 4624906"/>
              <a:gd name="connsiteX2" fmla="*/ 447898 w 11251935"/>
              <a:gd name="connsiteY2" fmla="*/ 3893455 h 4624906"/>
              <a:gd name="connsiteX3" fmla="*/ 4500376 w 11251935"/>
              <a:gd name="connsiteY3" fmla="*/ 3893455 h 4624906"/>
              <a:gd name="connsiteX4" fmla="*/ 4500376 w 11251935"/>
              <a:gd name="connsiteY4" fmla="*/ 0 h 4624906"/>
              <a:gd name="connsiteX5" fmla="*/ 11251935 w 11251935"/>
              <a:gd name="connsiteY5" fmla="*/ 0 h 4624906"/>
              <a:gd name="connsiteX6" fmla="*/ 11251935 w 11251935"/>
              <a:gd name="connsiteY6" fmla="*/ 4451920 h 4624906"/>
              <a:gd name="connsiteX7" fmla="*/ 7611818 w 11251935"/>
              <a:gd name="connsiteY7" fmla="*/ 4451920 h 4624906"/>
              <a:gd name="connsiteX8" fmla="*/ 7611818 w 11251935"/>
              <a:gd name="connsiteY8" fmla="*/ 4624906 h 4624906"/>
              <a:gd name="connsiteX9" fmla="*/ 0 w 11251935"/>
              <a:gd name="connsiteY9" fmla="*/ 4624906 h 4624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935" h="4624906">
                <a:moveTo>
                  <a:pt x="0" y="0"/>
                </a:moveTo>
                <a:lnTo>
                  <a:pt x="447898" y="0"/>
                </a:lnTo>
                <a:lnTo>
                  <a:pt x="447898" y="3893455"/>
                </a:lnTo>
                <a:lnTo>
                  <a:pt x="4500376" y="3893455"/>
                </a:lnTo>
                <a:lnTo>
                  <a:pt x="4500376" y="0"/>
                </a:lnTo>
                <a:lnTo>
                  <a:pt x="11251935" y="0"/>
                </a:lnTo>
                <a:lnTo>
                  <a:pt x="11251935" y="4451920"/>
                </a:lnTo>
                <a:lnTo>
                  <a:pt x="7611818" y="4451920"/>
                </a:lnTo>
                <a:lnTo>
                  <a:pt x="7611818" y="4624906"/>
                </a:lnTo>
                <a:lnTo>
                  <a:pt x="0" y="4624906"/>
                </a:lnTo>
                <a:close/>
              </a:path>
            </a:pathLst>
          </a:custGeom>
          <a:solidFill>
            <a:schemeClr val="bg1">
              <a:lumMod val="95000"/>
            </a:schemeClr>
          </a:solidFill>
        </p:spPr>
        <p:txBody>
          <a:bodyPr wrap="square" anchor="ctr">
            <a:noAutofit/>
          </a:bodyPr>
          <a:lstStyle>
            <a:lvl1pPr marL="0" indent="0" algn="ctr">
              <a:buNone/>
              <a:defRPr sz="800">
                <a:solidFill>
                  <a:schemeClr val="bg1"/>
                </a:solidFill>
                <a:latin typeface="Calibri" panose="020F0502020204030204" pitchFamily="34" charset="0"/>
                <a:cs typeface="Calibri" panose="020F0502020204030204" pitchFamily="34" charset="0"/>
              </a:defRPr>
            </a:lvl1pPr>
          </a:lstStyle>
          <a:p>
            <a:endParaRPr lang="en-US" dirty="0"/>
          </a:p>
        </p:txBody>
      </p:sp>
      <p:sp>
        <p:nvSpPr>
          <p:cNvPr id="164" name="Text Placeholder 32">
            <a:extLst>
              <a:ext uri="{FF2B5EF4-FFF2-40B4-BE49-F238E27FC236}">
                <a16:creationId xmlns:a16="http://schemas.microsoft.com/office/drawing/2014/main" id="{D873B4E1-BB2E-A4A5-029F-705A8A4C5835}"/>
              </a:ext>
            </a:extLst>
          </p:cNvPr>
          <p:cNvSpPr>
            <a:spLocks noGrp="1"/>
          </p:cNvSpPr>
          <p:nvPr>
            <p:ph type="body" sz="quarter" idx="16" hasCustomPrompt="1"/>
          </p:nvPr>
        </p:nvSpPr>
        <p:spPr>
          <a:xfrm>
            <a:off x="1148454" y="1582704"/>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Teach Digital</a:t>
            </a:r>
            <a:endParaRPr lang="en-US" dirty="0"/>
          </a:p>
        </p:txBody>
      </p:sp>
      <p:sp>
        <p:nvSpPr>
          <p:cNvPr id="165" name="Text Placeholder 32">
            <a:extLst>
              <a:ext uri="{FF2B5EF4-FFF2-40B4-BE49-F238E27FC236}">
                <a16:creationId xmlns:a16="http://schemas.microsoft.com/office/drawing/2014/main" id="{F19478BD-F969-6302-9A72-BF3E6ECE4F6E}"/>
              </a:ext>
            </a:extLst>
          </p:cNvPr>
          <p:cNvSpPr>
            <a:spLocks noGrp="1"/>
          </p:cNvSpPr>
          <p:nvPr>
            <p:ph type="body" sz="quarter" idx="19" hasCustomPrompt="1"/>
          </p:nvPr>
        </p:nvSpPr>
        <p:spPr>
          <a:xfrm>
            <a:off x="1190579" y="892241"/>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166" name="Group 165">
            <a:extLst>
              <a:ext uri="{FF2B5EF4-FFF2-40B4-BE49-F238E27FC236}">
                <a16:creationId xmlns:a16="http://schemas.microsoft.com/office/drawing/2014/main" id="{2E4788F7-99D7-85BC-5AD1-DA1225E1B491}"/>
              </a:ext>
            </a:extLst>
          </p:cNvPr>
          <p:cNvGrpSpPr/>
          <p:nvPr userDrawn="1"/>
        </p:nvGrpSpPr>
        <p:grpSpPr>
          <a:xfrm>
            <a:off x="9333752" y="5720940"/>
            <a:ext cx="2471731" cy="613729"/>
            <a:chOff x="0" y="0"/>
            <a:chExt cx="2301694" cy="571500"/>
          </a:xfrm>
        </p:grpSpPr>
        <p:sp>
          <p:nvSpPr>
            <p:cNvPr id="167" name="Rectangle 166">
              <a:extLst>
                <a:ext uri="{FF2B5EF4-FFF2-40B4-BE49-F238E27FC236}">
                  <a16:creationId xmlns:a16="http://schemas.microsoft.com/office/drawing/2014/main" id="{F8218784-1DCA-E334-CD2A-CDF24C656E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68" name="Picture 167">
              <a:extLst>
                <a:ext uri="{FF2B5EF4-FFF2-40B4-BE49-F238E27FC236}">
                  <a16:creationId xmlns:a16="http://schemas.microsoft.com/office/drawing/2014/main" id="{123C7833-E4B5-2FA7-9F14-F11A62842E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169" name="Text Placeholder 23">
            <a:extLst>
              <a:ext uri="{FF2B5EF4-FFF2-40B4-BE49-F238E27FC236}">
                <a16:creationId xmlns:a16="http://schemas.microsoft.com/office/drawing/2014/main" id="{006CB6A6-08BD-0663-44FE-4284A729F169}"/>
              </a:ext>
            </a:extLst>
          </p:cNvPr>
          <p:cNvSpPr>
            <a:spLocks noGrp="1"/>
          </p:cNvSpPr>
          <p:nvPr>
            <p:ph type="body" sz="quarter" idx="45" hasCustomPrompt="1"/>
          </p:nvPr>
        </p:nvSpPr>
        <p:spPr>
          <a:xfrm>
            <a:off x="8058541" y="4502526"/>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pic>
        <p:nvPicPr>
          <p:cNvPr id="170" name="Graphic 169">
            <a:extLst>
              <a:ext uri="{FF2B5EF4-FFF2-40B4-BE49-F238E27FC236}">
                <a16:creationId xmlns:a16="http://schemas.microsoft.com/office/drawing/2014/main" id="{F00D2B51-D8DE-CEB2-F866-1C8AC41EA2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55016" y="4266900"/>
            <a:ext cx="5331686" cy="2701388"/>
          </a:xfrm>
          <a:prstGeom prst="rect">
            <a:avLst/>
          </a:prstGeom>
        </p:spPr>
      </p:pic>
    </p:spTree>
    <p:extLst>
      <p:ext uri="{BB962C8B-B14F-4D97-AF65-F5344CB8AC3E}">
        <p14:creationId xmlns:p14="http://schemas.microsoft.com/office/powerpoint/2010/main" val="288380653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Slide 4">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EE93A69-EE97-8E46-B290-315304A87853}"/>
              </a:ext>
            </a:extLst>
          </p:cNvPr>
          <p:cNvSpPr/>
          <p:nvPr userDrawn="1"/>
        </p:nvSpPr>
        <p:spPr bwMode="auto">
          <a:xfrm rot="5400000">
            <a:off x="1487813" y="-531820"/>
            <a:ext cx="4845505" cy="7821131"/>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a:p>
        </p:txBody>
      </p:sp>
      <p:sp>
        <p:nvSpPr>
          <p:cNvPr id="17" name="Picture Placeholder 16">
            <a:extLst>
              <a:ext uri="{FF2B5EF4-FFF2-40B4-BE49-F238E27FC236}">
                <a16:creationId xmlns:a16="http://schemas.microsoft.com/office/drawing/2014/main" id="{93ABB9DF-1DB8-C14F-B6BD-AD6307C52AE0}"/>
              </a:ext>
            </a:extLst>
          </p:cNvPr>
          <p:cNvSpPr>
            <a:spLocks noGrp="1"/>
          </p:cNvSpPr>
          <p:nvPr>
            <p:ph type="pic" sz="quarter" idx="2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5801498 h 6858000"/>
              <a:gd name="connsiteX5" fmla="*/ 7699906 w 12192000"/>
              <a:gd name="connsiteY5" fmla="*/ 5801498 h 6858000"/>
              <a:gd name="connsiteX6" fmla="*/ 7821131 w 12192000"/>
              <a:gd name="connsiteY6" fmla="*/ 5801498 h 6858000"/>
              <a:gd name="connsiteX7" fmla="*/ 8130745 w 12192000"/>
              <a:gd name="connsiteY7" fmla="*/ 5801498 h 6858000"/>
              <a:gd name="connsiteX8" fmla="*/ 8130745 w 12192000"/>
              <a:gd name="connsiteY8" fmla="*/ 955993 h 6858000"/>
              <a:gd name="connsiteX9" fmla="*/ 7821131 w 12192000"/>
              <a:gd name="connsiteY9" fmla="*/ 955993 h 6858000"/>
              <a:gd name="connsiteX10" fmla="*/ 7699906 w 12192000"/>
              <a:gd name="connsiteY10" fmla="*/ 955993 h 6858000"/>
              <a:gd name="connsiteX11" fmla="*/ 0 w 12192000"/>
              <a:gd name="connsiteY11" fmla="*/ 95599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12192000" y="0"/>
                </a:lnTo>
                <a:lnTo>
                  <a:pt x="12192000" y="6858000"/>
                </a:lnTo>
                <a:lnTo>
                  <a:pt x="0" y="6858000"/>
                </a:lnTo>
                <a:lnTo>
                  <a:pt x="0" y="5801498"/>
                </a:lnTo>
                <a:lnTo>
                  <a:pt x="7699906" y="5801498"/>
                </a:lnTo>
                <a:lnTo>
                  <a:pt x="7821131" y="5801498"/>
                </a:lnTo>
                <a:lnTo>
                  <a:pt x="8130745" y="5801498"/>
                </a:lnTo>
                <a:lnTo>
                  <a:pt x="8130745" y="955993"/>
                </a:lnTo>
                <a:lnTo>
                  <a:pt x="7821131" y="955993"/>
                </a:lnTo>
                <a:lnTo>
                  <a:pt x="7699906" y="955993"/>
                </a:lnTo>
                <a:lnTo>
                  <a:pt x="0" y="95599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24" name="Text Placeholder 32">
            <a:extLst>
              <a:ext uri="{FF2B5EF4-FFF2-40B4-BE49-F238E27FC236}">
                <a16:creationId xmlns:a16="http://schemas.microsoft.com/office/drawing/2014/main" id="{066AB797-8A89-1847-80D1-724FF4999920}"/>
              </a:ext>
            </a:extLst>
          </p:cNvPr>
          <p:cNvSpPr>
            <a:spLocks noGrp="1"/>
          </p:cNvSpPr>
          <p:nvPr>
            <p:ph type="body" sz="quarter" idx="30" hasCustomPrompt="1"/>
          </p:nvPr>
        </p:nvSpPr>
        <p:spPr>
          <a:xfrm>
            <a:off x="640956" y="1409888"/>
            <a:ext cx="6749339" cy="808098"/>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6" name="Text Placeholder 32">
            <a:extLst>
              <a:ext uri="{FF2B5EF4-FFF2-40B4-BE49-F238E27FC236}">
                <a16:creationId xmlns:a16="http://schemas.microsoft.com/office/drawing/2014/main" id="{FEE3E3B2-D340-544F-9FCD-5AF1F67067B2}"/>
              </a:ext>
            </a:extLst>
          </p:cNvPr>
          <p:cNvSpPr>
            <a:spLocks noGrp="1"/>
          </p:cNvSpPr>
          <p:nvPr>
            <p:ph type="body" sz="quarter" idx="48" hasCustomPrompt="1"/>
          </p:nvPr>
        </p:nvSpPr>
        <p:spPr>
          <a:xfrm>
            <a:off x="640953" y="2428508"/>
            <a:ext cx="6749339" cy="2965622"/>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0" name="Freeform 9">
            <a:extLst>
              <a:ext uri="{FF2B5EF4-FFF2-40B4-BE49-F238E27FC236}">
                <a16:creationId xmlns:a16="http://schemas.microsoft.com/office/drawing/2014/main" id="{F80F3863-DD6C-BFD9-A0C7-6C4A0B06DFF1}"/>
              </a:ext>
            </a:extLst>
          </p:cNvPr>
          <p:cNvSpPr/>
          <p:nvPr userDrawn="1"/>
        </p:nvSpPr>
        <p:spPr>
          <a:xfrm rot="10800000">
            <a:off x="7731196" y="959550"/>
            <a:ext cx="395965" cy="4841948"/>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371789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hoto Slide 6">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BE49C4-98CB-9C45-BD57-28C8BFB0F07D}"/>
              </a:ext>
            </a:extLst>
          </p:cNvPr>
          <p:cNvSpPr/>
          <p:nvPr userDrawn="1"/>
        </p:nvSpPr>
        <p:spPr>
          <a:xfrm>
            <a:off x="0" y="224003"/>
            <a:ext cx="12192000" cy="4142935"/>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22" name="Text Placeholder 32">
            <a:extLst>
              <a:ext uri="{FF2B5EF4-FFF2-40B4-BE49-F238E27FC236}">
                <a16:creationId xmlns:a16="http://schemas.microsoft.com/office/drawing/2014/main" id="{EFAA2AC1-2BB2-C547-AF06-7C9874DC88F2}"/>
              </a:ext>
            </a:extLst>
          </p:cNvPr>
          <p:cNvSpPr>
            <a:spLocks noGrp="1"/>
          </p:cNvSpPr>
          <p:nvPr>
            <p:ph type="body" sz="quarter" idx="30" hasCustomPrompt="1"/>
          </p:nvPr>
        </p:nvSpPr>
        <p:spPr>
          <a:xfrm>
            <a:off x="946246" y="5087694"/>
            <a:ext cx="4403214" cy="1216478"/>
          </a:xfrm>
        </p:spPr>
        <p:txBody>
          <a:bodyPr>
            <a:noAutofit/>
          </a:bodyPr>
          <a:lstStyle>
            <a:lvl1pPr marL="0" indent="0" algn="l">
              <a:buNone/>
              <a:defRPr sz="3600" b="1" i="0" spc="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5D0ABF6D-9B7F-9841-95F1-1A05A28A9CF5}"/>
              </a:ext>
            </a:extLst>
          </p:cNvPr>
          <p:cNvSpPr>
            <a:spLocks noGrp="1"/>
          </p:cNvSpPr>
          <p:nvPr>
            <p:ph type="body" sz="quarter" idx="48" hasCustomPrompt="1"/>
          </p:nvPr>
        </p:nvSpPr>
        <p:spPr>
          <a:xfrm>
            <a:off x="5779610" y="5087694"/>
            <a:ext cx="5726769" cy="1216479"/>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28" name="Picture Placeholder 27">
            <a:extLst>
              <a:ext uri="{FF2B5EF4-FFF2-40B4-BE49-F238E27FC236}">
                <a16:creationId xmlns:a16="http://schemas.microsoft.com/office/drawing/2014/main" id="{30018A5E-BD0C-FB4B-BF50-C125A1DB3922}"/>
              </a:ext>
            </a:extLst>
          </p:cNvPr>
          <p:cNvSpPr>
            <a:spLocks noGrp="1"/>
          </p:cNvSpPr>
          <p:nvPr>
            <p:ph type="pic" sz="quarter" idx="21"/>
          </p:nvPr>
        </p:nvSpPr>
        <p:spPr>
          <a:xfrm>
            <a:off x="5302086" y="553828"/>
            <a:ext cx="6130153" cy="1964833"/>
          </a:xfrm>
          <a:custGeom>
            <a:avLst/>
            <a:gdLst>
              <a:gd name="connsiteX0" fmla="*/ 0 w 6130153"/>
              <a:gd name="connsiteY0" fmla="*/ 0 h 1964833"/>
              <a:gd name="connsiteX1" fmla="*/ 6130153 w 6130153"/>
              <a:gd name="connsiteY1" fmla="*/ 0 h 1964833"/>
              <a:gd name="connsiteX2" fmla="*/ 6130153 w 6130153"/>
              <a:gd name="connsiteY2" fmla="*/ 231958 h 1964833"/>
              <a:gd name="connsiteX3" fmla="*/ 5992823 w 6130153"/>
              <a:gd name="connsiteY3" fmla="*/ 231958 h 1964833"/>
              <a:gd name="connsiteX4" fmla="*/ 5992823 w 6130153"/>
              <a:gd name="connsiteY4" fmla="*/ 1671959 h 1964833"/>
              <a:gd name="connsiteX5" fmla="*/ 6130153 w 6130153"/>
              <a:gd name="connsiteY5" fmla="*/ 1671959 h 1964833"/>
              <a:gd name="connsiteX6" fmla="*/ 6130153 w 6130153"/>
              <a:gd name="connsiteY6" fmla="*/ 1964833 h 1964833"/>
              <a:gd name="connsiteX7" fmla="*/ 0 w 6130153"/>
              <a:gd name="connsiteY7" fmla="*/ 1964833 h 1964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30153" h="1964833">
                <a:moveTo>
                  <a:pt x="0" y="0"/>
                </a:moveTo>
                <a:lnTo>
                  <a:pt x="6130153" y="0"/>
                </a:lnTo>
                <a:lnTo>
                  <a:pt x="6130153" y="231958"/>
                </a:lnTo>
                <a:lnTo>
                  <a:pt x="5992823" y="231958"/>
                </a:lnTo>
                <a:lnTo>
                  <a:pt x="5992823" y="1671959"/>
                </a:lnTo>
                <a:lnTo>
                  <a:pt x="6130153" y="1671959"/>
                </a:lnTo>
                <a:lnTo>
                  <a:pt x="6130153" y="1964833"/>
                </a:lnTo>
                <a:lnTo>
                  <a:pt x="0" y="1964833"/>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350EA441-1AA7-7946-82C6-35FEB2BA56F2}"/>
              </a:ext>
            </a:extLst>
          </p:cNvPr>
          <p:cNvSpPr>
            <a:spLocks noGrp="1"/>
          </p:cNvSpPr>
          <p:nvPr>
            <p:ph type="pic" sz="quarter" idx="23"/>
          </p:nvPr>
        </p:nvSpPr>
        <p:spPr>
          <a:xfrm>
            <a:off x="730112" y="553828"/>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A3EC1EBA-930B-364B-8FFD-A3A37D85E041}"/>
              </a:ext>
            </a:extLst>
          </p:cNvPr>
          <p:cNvSpPr>
            <a:spLocks noGrp="1"/>
          </p:cNvSpPr>
          <p:nvPr>
            <p:ph type="pic" sz="quarter" idx="49"/>
          </p:nvPr>
        </p:nvSpPr>
        <p:spPr>
          <a:xfrm>
            <a:off x="730112" y="2749084"/>
            <a:ext cx="6130153" cy="196483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23" name="Picture Placeholder 2">
            <a:extLst>
              <a:ext uri="{FF2B5EF4-FFF2-40B4-BE49-F238E27FC236}">
                <a16:creationId xmlns:a16="http://schemas.microsoft.com/office/drawing/2014/main" id="{72415A37-99DF-6D48-A82B-08B0B77A1BCF}"/>
              </a:ext>
            </a:extLst>
          </p:cNvPr>
          <p:cNvSpPr>
            <a:spLocks noGrp="1"/>
          </p:cNvSpPr>
          <p:nvPr>
            <p:ph type="pic" sz="quarter" idx="50"/>
          </p:nvPr>
        </p:nvSpPr>
        <p:spPr>
          <a:xfrm>
            <a:off x="7154359" y="2749084"/>
            <a:ext cx="4277880" cy="1947679"/>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2" name="Freeform 11">
            <a:extLst>
              <a:ext uri="{FF2B5EF4-FFF2-40B4-BE49-F238E27FC236}">
                <a16:creationId xmlns:a16="http://schemas.microsoft.com/office/drawing/2014/main" id="{A996230D-CF63-CBC6-1E2D-92C66546C3C0}"/>
              </a:ext>
            </a:extLst>
          </p:cNvPr>
          <p:cNvSpPr/>
          <p:nvPr userDrawn="1"/>
        </p:nvSpPr>
        <p:spPr>
          <a:xfrm>
            <a:off x="11298975" y="78218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2094D2"/>
          </a:solidFill>
          <a:ln w="28891" cap="flat">
            <a:noFill/>
            <a:prstDash val="solid"/>
            <a:miter/>
          </a:ln>
        </p:spPr>
        <p:txBody>
          <a:bodyPr rtlCol="0" anchor="ctr"/>
          <a:lstStyle/>
          <a:p>
            <a:endParaRPr lang="en-US"/>
          </a:p>
        </p:txBody>
      </p:sp>
      <p:sp>
        <p:nvSpPr>
          <p:cNvPr id="14" name="Rectangle 13">
            <a:extLst>
              <a:ext uri="{FF2B5EF4-FFF2-40B4-BE49-F238E27FC236}">
                <a16:creationId xmlns:a16="http://schemas.microsoft.com/office/drawing/2014/main" id="{9D191051-AA2C-1936-0640-761B63AE64DB}"/>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218097642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51886" y="904551"/>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7764C767-0A40-C041-96CE-FAE9BC9F5FCA}"/>
              </a:ext>
            </a:extLst>
          </p:cNvPr>
          <p:cNvSpPr/>
          <p:nvPr userDrawn="1"/>
        </p:nvSpPr>
        <p:spPr>
          <a:xfrm>
            <a:off x="1151886" y="5087772"/>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51885" y="2990169"/>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79838" y="417338"/>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92019" y="112055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79838" y="2492212"/>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92019" y="3195428"/>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9" name="Text Placeholder 32">
            <a:extLst>
              <a:ext uri="{FF2B5EF4-FFF2-40B4-BE49-F238E27FC236}">
                <a16:creationId xmlns:a16="http://schemas.microsoft.com/office/drawing/2014/main" id="{2E9877C6-E249-4F4E-8097-E7C44AB5FE09}"/>
              </a:ext>
            </a:extLst>
          </p:cNvPr>
          <p:cNvSpPr>
            <a:spLocks noGrp="1"/>
          </p:cNvSpPr>
          <p:nvPr>
            <p:ph type="body" sz="quarter" idx="54" hasCustomPrompt="1"/>
          </p:nvPr>
        </p:nvSpPr>
        <p:spPr>
          <a:xfrm>
            <a:off x="3892019" y="456708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60" name="Text Placeholder 32">
            <a:extLst>
              <a:ext uri="{FF2B5EF4-FFF2-40B4-BE49-F238E27FC236}">
                <a16:creationId xmlns:a16="http://schemas.microsoft.com/office/drawing/2014/main" id="{05D67838-D162-BA4F-965A-715CEE8EB1A7}"/>
              </a:ext>
            </a:extLst>
          </p:cNvPr>
          <p:cNvSpPr>
            <a:spLocks noGrp="1"/>
          </p:cNvSpPr>
          <p:nvPr>
            <p:ph type="body" sz="quarter" idx="55" hasCustomPrompt="1"/>
          </p:nvPr>
        </p:nvSpPr>
        <p:spPr>
          <a:xfrm>
            <a:off x="3904200" y="527030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5" name="Picture Placeholder 2">
            <a:extLst>
              <a:ext uri="{FF2B5EF4-FFF2-40B4-BE49-F238E27FC236}">
                <a16:creationId xmlns:a16="http://schemas.microsoft.com/office/drawing/2014/main" id="{1AE122C5-B93C-2443-9586-190A159CBB8C}"/>
              </a:ext>
            </a:extLst>
          </p:cNvPr>
          <p:cNvSpPr>
            <a:spLocks noGrp="1"/>
          </p:cNvSpPr>
          <p:nvPr>
            <p:ph type="pic" sz="quarter" idx="23"/>
          </p:nvPr>
        </p:nvSpPr>
        <p:spPr>
          <a:xfrm>
            <a:off x="1449252" y="4604263"/>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49252" y="2506660"/>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49252" y="409057"/>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571670456"/>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3 x photo/text slide">
    <p:spTree>
      <p:nvGrpSpPr>
        <p:cNvPr id="1" name=""/>
        <p:cNvGrpSpPr/>
        <p:nvPr/>
      </p:nvGrpSpPr>
      <p:grpSpPr>
        <a:xfrm>
          <a:off x="0" y="0"/>
          <a:ext cx="0" cy="0"/>
          <a:chOff x="0" y="0"/>
          <a:chExt cx="0" cy="0"/>
        </a:xfrm>
      </p:grpSpPr>
      <p:sp>
        <p:nvSpPr>
          <p:cNvPr id="40" name="Freeform 39">
            <a:extLst>
              <a:ext uri="{FF2B5EF4-FFF2-40B4-BE49-F238E27FC236}">
                <a16:creationId xmlns:a16="http://schemas.microsoft.com/office/drawing/2014/main" id="{BB55D3C9-D9E1-3C4C-BCEE-D89966A31615}"/>
              </a:ext>
            </a:extLst>
          </p:cNvPr>
          <p:cNvSpPr/>
          <p:nvPr userDrawn="1"/>
        </p:nvSpPr>
        <p:spPr>
          <a:xfrm>
            <a:off x="1139708" y="1479990"/>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FA6564EE-36DE-654D-A323-79ED5B95A582}"/>
              </a:ext>
            </a:extLst>
          </p:cNvPr>
          <p:cNvSpPr/>
          <p:nvPr userDrawn="1"/>
        </p:nvSpPr>
        <p:spPr>
          <a:xfrm>
            <a:off x="1139707" y="4141054"/>
            <a:ext cx="1699375" cy="1349035"/>
          </a:xfrm>
          <a:custGeom>
            <a:avLst/>
            <a:gdLst>
              <a:gd name="connsiteX0" fmla="*/ 0 w 2273649"/>
              <a:gd name="connsiteY0" fmla="*/ 0 h 2283351"/>
              <a:gd name="connsiteX1" fmla="*/ 445816 w 2273649"/>
              <a:gd name="connsiteY1" fmla="*/ 0 h 2283351"/>
              <a:gd name="connsiteX2" fmla="*/ 445816 w 2273649"/>
              <a:gd name="connsiteY2" fmla="*/ 1879810 h 2283351"/>
              <a:gd name="connsiteX3" fmla="*/ 2273649 w 2273649"/>
              <a:gd name="connsiteY3" fmla="*/ 1879810 h 2283351"/>
              <a:gd name="connsiteX4" fmla="*/ 2273649 w 2273649"/>
              <a:gd name="connsiteY4" fmla="*/ 2283351 h 2283351"/>
              <a:gd name="connsiteX5" fmla="*/ 0 w 2273649"/>
              <a:gd name="connsiteY5" fmla="*/ 2283351 h 2283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3649" h="2283351">
                <a:moveTo>
                  <a:pt x="0" y="0"/>
                </a:moveTo>
                <a:lnTo>
                  <a:pt x="445816" y="0"/>
                </a:lnTo>
                <a:lnTo>
                  <a:pt x="445816" y="1879810"/>
                </a:lnTo>
                <a:lnTo>
                  <a:pt x="2273649" y="1879810"/>
                </a:lnTo>
                <a:lnTo>
                  <a:pt x="2273649" y="2283351"/>
                </a:lnTo>
                <a:lnTo>
                  <a:pt x="0" y="2283351"/>
                </a:lnTo>
                <a:close/>
              </a:path>
            </a:pathLst>
          </a:cu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069" dirty="0">
              <a:latin typeface="Calibri" panose="020F0502020204030204" pitchFamily="34" charset="0"/>
              <a:cs typeface="Calibri" panose="020F0502020204030204" pitchFamily="34" charset="0"/>
            </a:endParaRPr>
          </a:p>
        </p:txBody>
      </p:sp>
      <p:sp>
        <p:nvSpPr>
          <p:cNvPr id="38" name="Text Placeholder 32">
            <a:extLst>
              <a:ext uri="{FF2B5EF4-FFF2-40B4-BE49-F238E27FC236}">
                <a16:creationId xmlns:a16="http://schemas.microsoft.com/office/drawing/2014/main" id="{7D2CEAEF-DB4C-9245-AB85-9E2643AF765B}"/>
              </a:ext>
            </a:extLst>
          </p:cNvPr>
          <p:cNvSpPr>
            <a:spLocks noGrp="1"/>
          </p:cNvSpPr>
          <p:nvPr>
            <p:ph type="body" sz="quarter" idx="49" hasCustomPrompt="1"/>
          </p:nvPr>
        </p:nvSpPr>
        <p:spPr>
          <a:xfrm>
            <a:off x="3867660" y="99277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39" name="Text Placeholder 32">
            <a:extLst>
              <a:ext uri="{FF2B5EF4-FFF2-40B4-BE49-F238E27FC236}">
                <a16:creationId xmlns:a16="http://schemas.microsoft.com/office/drawing/2014/main" id="{043C13A9-DCE4-E54F-B82D-25FDA2086A05}"/>
              </a:ext>
            </a:extLst>
          </p:cNvPr>
          <p:cNvSpPr>
            <a:spLocks noGrp="1"/>
          </p:cNvSpPr>
          <p:nvPr>
            <p:ph type="body" sz="quarter" idx="50" hasCustomPrompt="1"/>
          </p:nvPr>
        </p:nvSpPr>
        <p:spPr>
          <a:xfrm>
            <a:off x="3879841" y="1695992"/>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55" name="Text Placeholder 32">
            <a:extLst>
              <a:ext uri="{FF2B5EF4-FFF2-40B4-BE49-F238E27FC236}">
                <a16:creationId xmlns:a16="http://schemas.microsoft.com/office/drawing/2014/main" id="{9F711D42-C3C7-F94F-A6A2-DBA59D2E1B09}"/>
              </a:ext>
            </a:extLst>
          </p:cNvPr>
          <p:cNvSpPr>
            <a:spLocks noGrp="1"/>
          </p:cNvSpPr>
          <p:nvPr>
            <p:ph type="body" sz="quarter" idx="51" hasCustomPrompt="1"/>
          </p:nvPr>
        </p:nvSpPr>
        <p:spPr>
          <a:xfrm>
            <a:off x="3867660" y="3643097"/>
            <a:ext cx="7160276" cy="730066"/>
          </a:xfrm>
        </p:spPr>
        <p:txBody>
          <a:bodyPr>
            <a:noAutofit/>
          </a:bodyPr>
          <a:lstStyle>
            <a:lvl1pPr marL="0" indent="0" algn="l">
              <a:buNone/>
              <a:defRPr sz="3600" b="1" i="0">
                <a:solidFill>
                  <a:srgbClr val="DB176A"/>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US" dirty="0"/>
              <a:t>Title</a:t>
            </a:r>
          </a:p>
        </p:txBody>
      </p:sp>
      <p:sp>
        <p:nvSpPr>
          <p:cNvPr id="56" name="Text Placeholder 32">
            <a:extLst>
              <a:ext uri="{FF2B5EF4-FFF2-40B4-BE49-F238E27FC236}">
                <a16:creationId xmlns:a16="http://schemas.microsoft.com/office/drawing/2014/main" id="{0DA45F84-5354-9B4C-B97F-2229C57C159A}"/>
              </a:ext>
            </a:extLst>
          </p:cNvPr>
          <p:cNvSpPr>
            <a:spLocks noGrp="1"/>
          </p:cNvSpPr>
          <p:nvPr>
            <p:ph type="body" sz="quarter" idx="52" hasCustomPrompt="1"/>
          </p:nvPr>
        </p:nvSpPr>
        <p:spPr>
          <a:xfrm>
            <a:off x="3879841" y="4346313"/>
            <a:ext cx="7160273" cy="945874"/>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6" name="Picture Placeholder 2">
            <a:extLst>
              <a:ext uri="{FF2B5EF4-FFF2-40B4-BE49-F238E27FC236}">
                <a16:creationId xmlns:a16="http://schemas.microsoft.com/office/drawing/2014/main" id="{69F14B25-1234-BA4F-9F66-85ABB4C39CE6}"/>
              </a:ext>
            </a:extLst>
          </p:cNvPr>
          <p:cNvSpPr>
            <a:spLocks noGrp="1"/>
          </p:cNvSpPr>
          <p:nvPr>
            <p:ph type="pic" sz="quarter" idx="56"/>
          </p:nvPr>
        </p:nvSpPr>
        <p:spPr>
          <a:xfrm>
            <a:off x="1437074" y="3657545"/>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7" name="Picture Placeholder 2">
            <a:extLst>
              <a:ext uri="{FF2B5EF4-FFF2-40B4-BE49-F238E27FC236}">
                <a16:creationId xmlns:a16="http://schemas.microsoft.com/office/drawing/2014/main" id="{2D6ADA64-2331-8649-9B72-19062F5F59FE}"/>
              </a:ext>
            </a:extLst>
          </p:cNvPr>
          <p:cNvSpPr>
            <a:spLocks noGrp="1"/>
          </p:cNvSpPr>
          <p:nvPr>
            <p:ph type="pic" sz="quarter" idx="57"/>
          </p:nvPr>
        </p:nvSpPr>
        <p:spPr>
          <a:xfrm>
            <a:off x="1437074" y="984496"/>
            <a:ext cx="1839479" cy="1607908"/>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Tree>
    <p:extLst>
      <p:ext uri="{BB962C8B-B14F-4D97-AF65-F5344CB8AC3E}">
        <p14:creationId xmlns:p14="http://schemas.microsoft.com/office/powerpoint/2010/main" val="166251792"/>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n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5AB41CE-F6BA-8449-B846-3526857402BA}"/>
              </a:ext>
            </a:extLst>
          </p:cNvPr>
          <p:cNvSpPr/>
          <p:nvPr userDrawn="1"/>
        </p:nvSpPr>
        <p:spPr>
          <a:xfrm>
            <a:off x="1" y="1723900"/>
            <a:ext cx="12191998" cy="4053499"/>
          </a:xfrm>
          <a:prstGeom prst="rect">
            <a:avLst/>
          </a:prstGeom>
          <a:solidFill>
            <a:srgbClr val="1149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a:p>
        </p:txBody>
      </p:sp>
      <p:sp>
        <p:nvSpPr>
          <p:cNvPr id="22" name="Text Placeholder 32">
            <a:extLst>
              <a:ext uri="{FF2B5EF4-FFF2-40B4-BE49-F238E27FC236}">
                <a16:creationId xmlns:a16="http://schemas.microsoft.com/office/drawing/2014/main" id="{1CFA480F-7E74-BF47-8D97-68745F852A4D}"/>
              </a:ext>
            </a:extLst>
          </p:cNvPr>
          <p:cNvSpPr>
            <a:spLocks noGrp="1"/>
          </p:cNvSpPr>
          <p:nvPr>
            <p:ph type="body" sz="quarter" idx="30" hasCustomPrompt="1"/>
          </p:nvPr>
        </p:nvSpPr>
        <p:spPr>
          <a:xfrm>
            <a:off x="773875" y="612133"/>
            <a:ext cx="10644249" cy="808786"/>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4" name="Text Placeholder 32">
            <a:extLst>
              <a:ext uri="{FF2B5EF4-FFF2-40B4-BE49-F238E27FC236}">
                <a16:creationId xmlns:a16="http://schemas.microsoft.com/office/drawing/2014/main" id="{34A7C2CE-8B7D-0642-9F33-2728633924AF}"/>
              </a:ext>
            </a:extLst>
          </p:cNvPr>
          <p:cNvSpPr>
            <a:spLocks noGrp="1"/>
          </p:cNvSpPr>
          <p:nvPr>
            <p:ph type="body" sz="quarter" idx="48" hasCustomPrompt="1"/>
          </p:nvPr>
        </p:nvSpPr>
        <p:spPr>
          <a:xfrm>
            <a:off x="773877" y="2527915"/>
            <a:ext cx="5322123" cy="2538354"/>
          </a:xfrm>
        </p:spPr>
        <p:txBody>
          <a:bodyPr numCol="1" spcCol="288000" anchor="t">
            <a:noAutofit/>
          </a:bodyPr>
          <a:lstStyle>
            <a:lvl1pPr marL="0" indent="0" algn="l">
              <a:lnSpc>
                <a:spcPct val="100000"/>
              </a:lnSpc>
              <a:spcBef>
                <a:spcPts val="0"/>
              </a:spcBef>
              <a:buNone/>
              <a:defRPr sz="24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pic>
        <p:nvPicPr>
          <p:cNvPr id="13" name="Picture 12">
            <a:extLst>
              <a:ext uri="{FF2B5EF4-FFF2-40B4-BE49-F238E27FC236}">
                <a16:creationId xmlns:a16="http://schemas.microsoft.com/office/drawing/2014/main" id="{8C211F0D-9051-024B-9DC9-CAAD6DD6F6C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rot="16200000">
            <a:off x="7429317" y="1458731"/>
            <a:ext cx="3693498" cy="5831867"/>
          </a:xfrm>
          <a:custGeom>
            <a:avLst/>
            <a:gdLst>
              <a:gd name="connsiteX0" fmla="*/ 0 w 3456000"/>
              <a:gd name="connsiteY0" fmla="*/ 0 h 4136571"/>
              <a:gd name="connsiteX1" fmla="*/ 3456000 w 3456000"/>
              <a:gd name="connsiteY1" fmla="*/ 0 h 4136571"/>
              <a:gd name="connsiteX2" fmla="*/ 3456000 w 3456000"/>
              <a:gd name="connsiteY2" fmla="*/ 4136571 h 4136571"/>
              <a:gd name="connsiteX3" fmla="*/ 0 w 3456000"/>
              <a:gd name="connsiteY3" fmla="*/ 4136571 h 4136571"/>
            </a:gdLst>
            <a:ahLst/>
            <a:cxnLst>
              <a:cxn ang="0">
                <a:pos x="connsiteX0" y="connsiteY0"/>
              </a:cxn>
              <a:cxn ang="0">
                <a:pos x="connsiteX1" y="connsiteY1"/>
              </a:cxn>
              <a:cxn ang="0">
                <a:pos x="connsiteX2" y="connsiteY2"/>
              </a:cxn>
              <a:cxn ang="0">
                <a:pos x="connsiteX3" y="connsiteY3"/>
              </a:cxn>
            </a:cxnLst>
            <a:rect l="l" t="t" r="r" b="b"/>
            <a:pathLst>
              <a:path w="3456000" h="4136571">
                <a:moveTo>
                  <a:pt x="0" y="0"/>
                </a:moveTo>
                <a:lnTo>
                  <a:pt x="3456000" y="0"/>
                </a:lnTo>
                <a:lnTo>
                  <a:pt x="3456000" y="4136571"/>
                </a:lnTo>
                <a:lnTo>
                  <a:pt x="0" y="4136571"/>
                </a:lnTo>
                <a:close/>
              </a:path>
            </a:pathLst>
          </a:custGeom>
        </p:spPr>
      </p:pic>
      <p:sp>
        <p:nvSpPr>
          <p:cNvPr id="14" name="Picture Placeholder 2">
            <a:extLst>
              <a:ext uri="{FF2B5EF4-FFF2-40B4-BE49-F238E27FC236}">
                <a16:creationId xmlns:a16="http://schemas.microsoft.com/office/drawing/2014/main" id="{35EDD9E2-AF44-6C49-9A06-EA7CD926F603}"/>
              </a:ext>
            </a:extLst>
          </p:cNvPr>
          <p:cNvSpPr>
            <a:spLocks noGrp="1"/>
          </p:cNvSpPr>
          <p:nvPr>
            <p:ph type="pic" sz="quarter" idx="23"/>
          </p:nvPr>
        </p:nvSpPr>
        <p:spPr>
          <a:xfrm>
            <a:off x="7436587" y="2907206"/>
            <a:ext cx="4755412" cy="2879354"/>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2B1E4B41-A82F-C5DA-18F5-D70EDA69CE5B}"/>
              </a:ext>
            </a:extLst>
          </p:cNvPr>
          <p:cNvSpPr/>
          <p:nvPr userDrawn="1"/>
        </p:nvSpPr>
        <p:spPr>
          <a:xfrm rot="16200000">
            <a:off x="10518124" y="1071057"/>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2" name="Rectangle 1">
            <a:extLst>
              <a:ext uri="{FF2B5EF4-FFF2-40B4-BE49-F238E27FC236}">
                <a16:creationId xmlns:a16="http://schemas.microsoft.com/office/drawing/2014/main" id="{A212208F-070A-C29F-9730-152229B52846}"/>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1915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Slide - 1 column">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854280" y="925680"/>
            <a:ext cx="10483431" cy="804265"/>
          </a:xfrm>
        </p:spPr>
        <p:txBody>
          <a:bodyPr>
            <a:noAutofit/>
          </a:bodyPr>
          <a:lstStyle>
            <a:lvl1pPr marL="0" indent="0" algn="l">
              <a:buNone/>
              <a:defRPr sz="36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854282" y="1864553"/>
            <a:ext cx="10483429"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7" name="Freeform 6">
            <a:extLst>
              <a:ext uri="{FF2B5EF4-FFF2-40B4-BE49-F238E27FC236}">
                <a16:creationId xmlns:a16="http://schemas.microsoft.com/office/drawing/2014/main" id="{2AEDC40B-20B0-6CBF-07B9-38AD956F9569}"/>
              </a:ext>
            </a:extLst>
          </p:cNvPr>
          <p:cNvSpPr/>
          <p:nvPr userDrawn="1"/>
        </p:nvSpPr>
        <p:spPr>
          <a:xfrm rot="5400000">
            <a:off x="5923002" y="-4332045"/>
            <a:ext cx="345989" cy="900702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8311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8" name="Text Placeholder 32">
            <a:extLst>
              <a:ext uri="{FF2B5EF4-FFF2-40B4-BE49-F238E27FC236}">
                <a16:creationId xmlns:a16="http://schemas.microsoft.com/office/drawing/2014/main" id="{9C716BEC-845A-8B40-99E1-C9C8BEB7C846}"/>
              </a:ext>
            </a:extLst>
          </p:cNvPr>
          <p:cNvSpPr>
            <a:spLocks noGrp="1"/>
          </p:cNvSpPr>
          <p:nvPr>
            <p:ph type="body" sz="quarter" idx="30" hasCustomPrompt="1"/>
          </p:nvPr>
        </p:nvSpPr>
        <p:spPr>
          <a:xfrm>
            <a:off x="671400" y="759425"/>
            <a:ext cx="4997879" cy="804265"/>
          </a:xfrm>
        </p:spPr>
        <p:txBody>
          <a:bodyPr>
            <a:noAutofit/>
          </a:bodyPr>
          <a:lstStyle>
            <a:lvl1pPr marL="0" indent="0" algn="l">
              <a:buNone/>
              <a:defRPr sz="3600" b="1" i="0">
                <a:solidFill>
                  <a:srgbClr val="1D93D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6" name="Text Placeholder 32">
            <a:extLst>
              <a:ext uri="{FF2B5EF4-FFF2-40B4-BE49-F238E27FC236}">
                <a16:creationId xmlns:a16="http://schemas.microsoft.com/office/drawing/2014/main" id="{AE20B737-C724-BC42-9305-29BFF3FA1BB8}"/>
              </a:ext>
            </a:extLst>
          </p:cNvPr>
          <p:cNvSpPr>
            <a:spLocks noGrp="1"/>
          </p:cNvSpPr>
          <p:nvPr>
            <p:ph type="body" sz="quarter" idx="48" hasCustomPrompt="1"/>
          </p:nvPr>
        </p:nvSpPr>
        <p:spPr>
          <a:xfrm>
            <a:off x="671403" y="1698298"/>
            <a:ext cx="4997878" cy="4439577"/>
          </a:xfrm>
        </p:spPr>
        <p:txBody>
          <a:bodyPr numCol="1" spcCol="288000" anchor="t">
            <a:noAutofit/>
          </a:bodyPr>
          <a:lstStyle>
            <a:lvl1pPr marL="0" indent="0" algn="l">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grpSp>
        <p:nvGrpSpPr>
          <p:cNvPr id="4" name="Group 3">
            <a:extLst>
              <a:ext uri="{FF2B5EF4-FFF2-40B4-BE49-F238E27FC236}">
                <a16:creationId xmlns:a16="http://schemas.microsoft.com/office/drawing/2014/main" id="{638CDF72-CF42-F501-B043-5C5AA4F9EE94}"/>
              </a:ext>
            </a:extLst>
          </p:cNvPr>
          <p:cNvGrpSpPr/>
          <p:nvPr userDrawn="1"/>
        </p:nvGrpSpPr>
        <p:grpSpPr>
          <a:xfrm rot="16200000">
            <a:off x="8887162" y="1476548"/>
            <a:ext cx="4506008" cy="2103668"/>
            <a:chOff x="-1871944" y="1778846"/>
            <a:chExt cx="1736764" cy="810823"/>
          </a:xfrm>
        </p:grpSpPr>
        <p:sp>
          <p:nvSpPr>
            <p:cNvPr id="5" name="Freeform 4">
              <a:extLst>
                <a:ext uri="{FF2B5EF4-FFF2-40B4-BE49-F238E27FC236}">
                  <a16:creationId xmlns:a16="http://schemas.microsoft.com/office/drawing/2014/main" id="{48D7C512-6CC3-75FA-DAE1-0F065A820FD5}"/>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816D240B-65D5-454E-6465-0864F402A41A}"/>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45FB591F-0067-FC58-3E99-6A5395A4A5A1}"/>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584D181-B420-D56F-2968-A3906A4FD588}"/>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A1D0B637-2DD6-43A1-F272-960E3B76F6BF}"/>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2074882B-4DAE-FEBC-BE2B-4FE4B4C1BBA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pic>
        <p:nvPicPr>
          <p:cNvPr id="13" name="Picture 12">
            <a:extLst>
              <a:ext uri="{FF2B5EF4-FFF2-40B4-BE49-F238E27FC236}">
                <a16:creationId xmlns:a16="http://schemas.microsoft.com/office/drawing/2014/main" id="{ABE364F3-EEEA-05DC-3D3A-D8D60D0628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8315" t="15976" r="16613" b="11083"/>
          <a:stretch/>
        </p:blipFill>
        <p:spPr>
          <a:xfrm>
            <a:off x="2707143" y="1768709"/>
            <a:ext cx="9484857" cy="5294310"/>
          </a:xfrm>
          <a:prstGeom prst="rect">
            <a:avLst/>
          </a:prstGeom>
        </p:spPr>
      </p:pic>
      <p:sp>
        <p:nvSpPr>
          <p:cNvPr id="14" name="Picture Placeholder 17">
            <a:extLst>
              <a:ext uri="{FF2B5EF4-FFF2-40B4-BE49-F238E27FC236}">
                <a16:creationId xmlns:a16="http://schemas.microsoft.com/office/drawing/2014/main" id="{80248A5E-A387-6397-D985-E177350CBE3B}"/>
              </a:ext>
            </a:extLst>
          </p:cNvPr>
          <p:cNvSpPr>
            <a:spLocks noGrp="1"/>
          </p:cNvSpPr>
          <p:nvPr>
            <p:ph type="pic" sz="quarter" idx="10"/>
          </p:nvPr>
        </p:nvSpPr>
        <p:spPr>
          <a:xfrm>
            <a:off x="5965381" y="1969393"/>
            <a:ext cx="6226619" cy="3853972"/>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2073380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4" name="Freeform 3">
            <a:extLst>
              <a:ext uri="{FF2B5EF4-FFF2-40B4-BE49-F238E27FC236}">
                <a16:creationId xmlns:a16="http://schemas.microsoft.com/office/drawing/2014/main" id="{B051E9A9-9385-52A1-75D8-5A4E87878770}"/>
              </a:ext>
            </a:extLst>
          </p:cNvPr>
          <p:cNvSpPr/>
          <p:nvPr userDrawn="1"/>
        </p:nvSpPr>
        <p:spPr>
          <a:xfrm>
            <a:off x="-2988" y="3102429"/>
            <a:ext cx="12194988" cy="2454896"/>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grpSp>
        <p:nvGrpSpPr>
          <p:cNvPr id="6" name="Group 5">
            <a:extLst>
              <a:ext uri="{FF2B5EF4-FFF2-40B4-BE49-F238E27FC236}">
                <a16:creationId xmlns:a16="http://schemas.microsoft.com/office/drawing/2014/main" id="{D2759D8F-66C9-8774-46CC-589C1386D13E}"/>
              </a:ext>
            </a:extLst>
          </p:cNvPr>
          <p:cNvGrpSpPr/>
          <p:nvPr userDrawn="1"/>
        </p:nvGrpSpPr>
        <p:grpSpPr>
          <a:xfrm>
            <a:off x="9456007" y="5829539"/>
            <a:ext cx="2735993" cy="679345"/>
            <a:chOff x="0" y="0"/>
            <a:chExt cx="2301694" cy="571500"/>
          </a:xfrm>
        </p:grpSpPr>
        <p:sp>
          <p:nvSpPr>
            <p:cNvPr id="7" name="Rectangle 6">
              <a:extLst>
                <a:ext uri="{FF2B5EF4-FFF2-40B4-BE49-F238E27FC236}">
                  <a16:creationId xmlns:a16="http://schemas.microsoft.com/office/drawing/2014/main" id="{4A4A8FB1-8F11-0141-5DE0-6281C24D84D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54142550-A084-D565-B045-9AB6CF6BB51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 name="Graphic 1">
            <a:extLst>
              <a:ext uri="{FF2B5EF4-FFF2-40B4-BE49-F238E27FC236}">
                <a16:creationId xmlns:a16="http://schemas.microsoft.com/office/drawing/2014/main" id="{6DE9B32D-A619-D8AC-EFCE-F869773379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3" name="Text Placeholder 32">
            <a:extLst>
              <a:ext uri="{FF2B5EF4-FFF2-40B4-BE49-F238E27FC236}">
                <a16:creationId xmlns:a16="http://schemas.microsoft.com/office/drawing/2014/main" id="{64ABFF8E-C771-1252-E347-4145D5AF72F7}"/>
              </a:ext>
            </a:extLst>
          </p:cNvPr>
          <p:cNvSpPr>
            <a:spLocks noGrp="1"/>
          </p:cNvSpPr>
          <p:nvPr>
            <p:ph type="body" sz="quarter" idx="30" hasCustomPrompt="1"/>
          </p:nvPr>
        </p:nvSpPr>
        <p:spPr>
          <a:xfrm>
            <a:off x="852791" y="3709852"/>
            <a:ext cx="6346032" cy="804265"/>
          </a:xfrm>
        </p:spPr>
        <p:txBody>
          <a:bodyPr>
            <a:noAutofit/>
          </a:bodyPr>
          <a:lstStyle>
            <a:lvl1pPr marL="0" indent="0" algn="l">
              <a:buNone/>
              <a:defRPr sz="3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ollow Our Journey</a:t>
            </a:r>
            <a:endParaRPr lang="en-US" dirty="0"/>
          </a:p>
        </p:txBody>
      </p:sp>
      <p:grpSp>
        <p:nvGrpSpPr>
          <p:cNvPr id="9" name="Group 8">
            <a:extLst>
              <a:ext uri="{FF2B5EF4-FFF2-40B4-BE49-F238E27FC236}">
                <a16:creationId xmlns:a16="http://schemas.microsoft.com/office/drawing/2014/main" id="{9A5B3923-C329-76E3-D521-1B5691B489E3}"/>
              </a:ext>
            </a:extLst>
          </p:cNvPr>
          <p:cNvGrpSpPr/>
          <p:nvPr userDrawn="1"/>
        </p:nvGrpSpPr>
        <p:grpSpPr>
          <a:xfrm rot="16200000">
            <a:off x="8283002" y="1703688"/>
            <a:ext cx="5411064" cy="2526201"/>
            <a:chOff x="-1871944" y="1778846"/>
            <a:chExt cx="1736764" cy="810823"/>
          </a:xfrm>
        </p:grpSpPr>
        <p:sp>
          <p:nvSpPr>
            <p:cNvPr id="10" name="Freeform 9">
              <a:extLst>
                <a:ext uri="{FF2B5EF4-FFF2-40B4-BE49-F238E27FC236}">
                  <a16:creationId xmlns:a16="http://schemas.microsoft.com/office/drawing/2014/main" id="{6C1AD56A-3F65-664F-75AE-547AD26BBCD0}"/>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F0B203D0-4F1F-AF4A-88AA-54E18CD29FEE}"/>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76200723-4FC0-633F-3415-EC13CA112A32}"/>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F93CA007-2D69-244F-05AD-5CBECC817D21}"/>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34AAEEA6-8651-4BAB-D748-309574A2E77E}"/>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F6034C48-69EE-EAE5-44B4-38451FD5724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728685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CBF8474B-2EE8-5D90-EE94-2A449BB5BC14}"/>
              </a:ext>
            </a:extLst>
          </p:cNvPr>
          <p:cNvSpPr/>
          <p:nvPr userDrawn="1"/>
        </p:nvSpPr>
        <p:spPr>
          <a:xfrm>
            <a:off x="0" y="2916349"/>
            <a:ext cx="12172692" cy="2970866"/>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11496E"/>
          </a:solidFill>
          <a:ln w="30808" cap="flat">
            <a:noFill/>
            <a:prstDash val="solid"/>
            <a:miter/>
          </a:ln>
        </p:spPr>
        <p:txBody>
          <a:bodyPr rtlCol="0" anchor="ctr"/>
          <a:lstStyle/>
          <a:p>
            <a:endParaRPr lang="en-US" sz="2069"/>
          </a:p>
        </p:txBody>
      </p:sp>
      <p:sp>
        <p:nvSpPr>
          <p:cNvPr id="178" name="Freeform 177">
            <a:extLst>
              <a:ext uri="{FF2B5EF4-FFF2-40B4-BE49-F238E27FC236}">
                <a16:creationId xmlns:a16="http://schemas.microsoft.com/office/drawing/2014/main" id="{D72AD8ED-B417-EE44-A5AC-AEB6D73B62A7}"/>
              </a:ext>
            </a:extLst>
          </p:cNvPr>
          <p:cNvSpPr/>
          <p:nvPr userDrawn="1"/>
        </p:nvSpPr>
        <p:spPr>
          <a:xfrm>
            <a:off x="8065511" y="5423818"/>
            <a:ext cx="4126489" cy="756631"/>
          </a:xfrm>
          <a:custGeom>
            <a:avLst/>
            <a:gdLst>
              <a:gd name="connsiteX0" fmla="*/ 0 w 7600392"/>
              <a:gd name="connsiteY0" fmla="*/ 0 h 6806308"/>
              <a:gd name="connsiteX1" fmla="*/ 7600393 w 7600392"/>
              <a:gd name="connsiteY1" fmla="*/ 0 h 6806308"/>
              <a:gd name="connsiteX2" fmla="*/ 7600393 w 7600392"/>
              <a:gd name="connsiteY2" fmla="*/ 6806308 h 6806308"/>
              <a:gd name="connsiteX3" fmla="*/ 0 w 7600392"/>
              <a:gd name="connsiteY3" fmla="*/ 6806308 h 6806308"/>
            </a:gdLst>
            <a:ahLst/>
            <a:cxnLst>
              <a:cxn ang="0">
                <a:pos x="connsiteX0" y="connsiteY0"/>
              </a:cxn>
              <a:cxn ang="0">
                <a:pos x="connsiteX1" y="connsiteY1"/>
              </a:cxn>
              <a:cxn ang="0">
                <a:pos x="connsiteX2" y="connsiteY2"/>
              </a:cxn>
              <a:cxn ang="0">
                <a:pos x="connsiteX3" y="connsiteY3"/>
              </a:cxn>
            </a:cxnLst>
            <a:rect l="l" t="t" r="r" b="b"/>
            <a:pathLst>
              <a:path w="7600392" h="6806308">
                <a:moveTo>
                  <a:pt x="0" y="0"/>
                </a:moveTo>
                <a:lnTo>
                  <a:pt x="7600393" y="0"/>
                </a:lnTo>
                <a:lnTo>
                  <a:pt x="7600393" y="6806308"/>
                </a:lnTo>
                <a:lnTo>
                  <a:pt x="0" y="6806308"/>
                </a:lnTo>
                <a:close/>
              </a:path>
            </a:pathLst>
          </a:custGeom>
          <a:solidFill>
            <a:srgbClr val="2094D2"/>
          </a:solidFill>
          <a:ln w="30808" cap="flat">
            <a:noFill/>
            <a:prstDash val="solid"/>
            <a:miter/>
          </a:ln>
        </p:spPr>
        <p:txBody>
          <a:bodyPr rtlCol="0" anchor="ctr"/>
          <a:lstStyle/>
          <a:p>
            <a:endParaRPr lang="en-US" sz="2069"/>
          </a:p>
        </p:txBody>
      </p:sp>
      <p:sp>
        <p:nvSpPr>
          <p:cNvPr id="3" name="Text Placeholder 32">
            <a:extLst>
              <a:ext uri="{FF2B5EF4-FFF2-40B4-BE49-F238E27FC236}">
                <a16:creationId xmlns:a16="http://schemas.microsoft.com/office/drawing/2014/main" id="{99B2260A-8AA6-B70B-8A19-887E4F62A1EA}"/>
              </a:ext>
            </a:extLst>
          </p:cNvPr>
          <p:cNvSpPr>
            <a:spLocks noGrp="1"/>
          </p:cNvSpPr>
          <p:nvPr>
            <p:ph type="body" sz="quarter" idx="16" hasCustomPrompt="1"/>
          </p:nvPr>
        </p:nvSpPr>
        <p:spPr>
          <a:xfrm>
            <a:off x="575887" y="3922846"/>
            <a:ext cx="3354126" cy="1008397"/>
          </a:xfrm>
          <a:prstGeom prst="rect">
            <a:avLst/>
          </a:prstGeom>
        </p:spPr>
        <p:txBody>
          <a:bodyPr anchor="t">
            <a:noAutofit/>
          </a:bodyPr>
          <a:lstStyle>
            <a:lvl1pPr marL="0" indent="0" algn="l">
              <a:lnSpc>
                <a:spcPts val="3954"/>
              </a:lnSpc>
              <a:spcBef>
                <a:spcPts val="0"/>
              </a:spcBef>
              <a:buNone/>
              <a:defRPr sz="40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FAIRPRENEURS</a:t>
            </a:r>
            <a:endParaRPr lang="en-US" dirty="0"/>
          </a:p>
        </p:txBody>
      </p:sp>
      <p:sp>
        <p:nvSpPr>
          <p:cNvPr id="5" name="Text Placeholder 32">
            <a:extLst>
              <a:ext uri="{FF2B5EF4-FFF2-40B4-BE49-F238E27FC236}">
                <a16:creationId xmlns:a16="http://schemas.microsoft.com/office/drawing/2014/main" id="{E172149E-5E03-96AA-55FE-70298C3C1C77}"/>
              </a:ext>
            </a:extLst>
          </p:cNvPr>
          <p:cNvSpPr>
            <a:spLocks noGrp="1"/>
          </p:cNvSpPr>
          <p:nvPr>
            <p:ph type="body" sz="quarter" idx="19" hasCustomPrompt="1"/>
          </p:nvPr>
        </p:nvSpPr>
        <p:spPr>
          <a:xfrm>
            <a:off x="618012" y="3232383"/>
            <a:ext cx="3311988" cy="533188"/>
          </a:xfrm>
          <a:prstGeom prst="rect">
            <a:avLst/>
          </a:prstGeom>
        </p:spPr>
        <p:txBody>
          <a:bodyPr anchor="t">
            <a:noAutofit/>
          </a:bodyPr>
          <a:lstStyle>
            <a:lvl1pPr marL="0" indent="0" algn="l">
              <a:lnSpc>
                <a:spcPct val="100000"/>
              </a:lnSpc>
              <a:spcBef>
                <a:spcPts val="0"/>
              </a:spcBef>
              <a:buNone/>
              <a:defRPr sz="3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guide to </a:t>
            </a:r>
          </a:p>
        </p:txBody>
      </p:sp>
      <p:grpSp>
        <p:nvGrpSpPr>
          <p:cNvPr id="6" name="Group 5">
            <a:extLst>
              <a:ext uri="{FF2B5EF4-FFF2-40B4-BE49-F238E27FC236}">
                <a16:creationId xmlns:a16="http://schemas.microsoft.com/office/drawing/2014/main" id="{D804B6A4-482D-6C9A-9089-E3658622346A}"/>
              </a:ext>
            </a:extLst>
          </p:cNvPr>
          <p:cNvGrpSpPr/>
          <p:nvPr userDrawn="1"/>
        </p:nvGrpSpPr>
        <p:grpSpPr>
          <a:xfrm>
            <a:off x="162193" y="5965743"/>
            <a:ext cx="2471731" cy="613729"/>
            <a:chOff x="0" y="0"/>
            <a:chExt cx="2301694" cy="571500"/>
          </a:xfrm>
        </p:grpSpPr>
        <p:sp>
          <p:nvSpPr>
            <p:cNvPr id="7" name="Rectangle 6">
              <a:extLst>
                <a:ext uri="{FF2B5EF4-FFF2-40B4-BE49-F238E27FC236}">
                  <a16:creationId xmlns:a16="http://schemas.microsoft.com/office/drawing/2014/main" id="{B32BB417-1319-9691-2C6F-B415DC63CF15}"/>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8" name="Picture 7">
              <a:extLst>
                <a:ext uri="{FF2B5EF4-FFF2-40B4-BE49-F238E27FC236}">
                  <a16:creationId xmlns:a16="http://schemas.microsoft.com/office/drawing/2014/main" id="{43937D66-6C3E-E846-845F-7150743138EF}"/>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163" name="Graphic 162">
            <a:extLst>
              <a:ext uri="{FF2B5EF4-FFF2-40B4-BE49-F238E27FC236}">
                <a16:creationId xmlns:a16="http://schemas.microsoft.com/office/drawing/2014/main" id="{7BF67B0B-2324-EAFF-41E5-831D9EA25FA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13789"/>
            <a:ext cx="6096000" cy="3088640"/>
          </a:xfrm>
          <a:prstGeom prst="rect">
            <a:avLst/>
          </a:prstGeom>
        </p:spPr>
      </p:pic>
      <p:sp>
        <p:nvSpPr>
          <p:cNvPr id="177" name="Picture Placeholder 176">
            <a:extLst>
              <a:ext uri="{FF2B5EF4-FFF2-40B4-BE49-F238E27FC236}">
                <a16:creationId xmlns:a16="http://schemas.microsoft.com/office/drawing/2014/main" id="{950B8847-22F7-A4AA-BB88-4959C6102C92}"/>
              </a:ext>
            </a:extLst>
          </p:cNvPr>
          <p:cNvSpPr>
            <a:spLocks noGrp="1"/>
          </p:cNvSpPr>
          <p:nvPr>
            <p:ph type="pic" sz="quarter" idx="44" hasCustomPrompt="1"/>
          </p:nvPr>
        </p:nvSpPr>
        <p:spPr>
          <a:xfrm>
            <a:off x="5718875" y="13789"/>
            <a:ext cx="5533754" cy="6880943"/>
          </a:xfrm>
          <a:custGeom>
            <a:avLst/>
            <a:gdLst>
              <a:gd name="connsiteX0" fmla="*/ 0 w 5533754"/>
              <a:gd name="connsiteY0" fmla="*/ 0 h 6880943"/>
              <a:gd name="connsiteX1" fmla="*/ 5533754 w 5533754"/>
              <a:gd name="connsiteY1" fmla="*/ 0 h 6880943"/>
              <a:gd name="connsiteX2" fmla="*/ 5533754 w 5533754"/>
              <a:gd name="connsiteY2" fmla="*/ 5410029 h 6880943"/>
              <a:gd name="connsiteX3" fmla="*/ 2346636 w 5533754"/>
              <a:gd name="connsiteY3" fmla="*/ 5410029 h 6880943"/>
              <a:gd name="connsiteX4" fmla="*/ 2346636 w 5533754"/>
              <a:gd name="connsiteY4" fmla="*/ 6166660 h 6880943"/>
              <a:gd name="connsiteX5" fmla="*/ 5533754 w 5533754"/>
              <a:gd name="connsiteY5" fmla="*/ 6166660 h 6880943"/>
              <a:gd name="connsiteX6" fmla="*/ 5533754 w 5533754"/>
              <a:gd name="connsiteY6" fmla="*/ 6880943 h 6880943"/>
              <a:gd name="connsiteX7" fmla="*/ 0 w 5533754"/>
              <a:gd name="connsiteY7" fmla="*/ 6880943 h 68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3754" h="6880943">
                <a:moveTo>
                  <a:pt x="0" y="0"/>
                </a:moveTo>
                <a:lnTo>
                  <a:pt x="5533754" y="0"/>
                </a:lnTo>
                <a:lnTo>
                  <a:pt x="5533754" y="5410029"/>
                </a:lnTo>
                <a:lnTo>
                  <a:pt x="2346636" y="5410029"/>
                </a:lnTo>
                <a:lnTo>
                  <a:pt x="2346636" y="6166660"/>
                </a:lnTo>
                <a:lnTo>
                  <a:pt x="5533754" y="6166660"/>
                </a:lnTo>
                <a:lnTo>
                  <a:pt x="5533754" y="6880943"/>
                </a:lnTo>
                <a:lnTo>
                  <a:pt x="0" y="6880943"/>
                </a:lnTo>
                <a:close/>
              </a:path>
            </a:pathLst>
          </a:custGeom>
          <a:solidFill>
            <a:schemeClr val="bg1">
              <a:lumMod val="95000"/>
            </a:schemeClr>
          </a:solidFill>
        </p:spPr>
        <p:txBody>
          <a:bodyPr wrap="square">
            <a:noAutofit/>
          </a:bodyPr>
          <a:lstStyle>
            <a:lvl1pPr>
              <a:defRPr>
                <a:solidFill>
                  <a:schemeClr val="bg1">
                    <a:lumMod val="95000"/>
                  </a:schemeClr>
                </a:solidFill>
                <a:latin typeface="Calibri" panose="020F0502020204030204" pitchFamily="34" charset="0"/>
                <a:cs typeface="Calibri" panose="020F0502020204030204" pitchFamily="34" charset="0"/>
              </a:defRPr>
            </a:lvl1pPr>
          </a:lstStyle>
          <a:p>
            <a:r>
              <a:rPr lang="en-US" dirty="0"/>
              <a:t>g</a:t>
            </a:r>
          </a:p>
        </p:txBody>
      </p:sp>
      <p:sp>
        <p:nvSpPr>
          <p:cNvPr id="175" name="Text Placeholder 23">
            <a:extLst>
              <a:ext uri="{FF2B5EF4-FFF2-40B4-BE49-F238E27FC236}">
                <a16:creationId xmlns:a16="http://schemas.microsoft.com/office/drawing/2014/main" id="{F9FE7071-7D7D-13C1-BD08-2F3C5C7F4C51}"/>
              </a:ext>
            </a:extLst>
          </p:cNvPr>
          <p:cNvSpPr>
            <a:spLocks noGrp="1"/>
          </p:cNvSpPr>
          <p:nvPr>
            <p:ph type="body" sz="quarter" idx="45" hasCustomPrompt="1"/>
          </p:nvPr>
        </p:nvSpPr>
        <p:spPr>
          <a:xfrm>
            <a:off x="8065511" y="5436563"/>
            <a:ext cx="3640117" cy="731140"/>
          </a:xfrm>
          <a:prstGeom prst="rect">
            <a:avLst/>
          </a:prstGeom>
        </p:spPr>
        <p:txBody>
          <a:bodyPr anchor="ctr">
            <a:normAutofit/>
          </a:bodyPr>
          <a:lstStyle>
            <a:lvl1pPr marL="0" indent="0" algn="r">
              <a:buNone/>
              <a:defRPr sz="2800" baseline="0">
                <a:solidFill>
                  <a:schemeClr val="bg1"/>
                </a:solidFill>
                <a:latin typeface="Calibri" panose="020F0502020204030204" pitchFamily="34" charset="0"/>
                <a:cs typeface="Calibri" panose="020F0502020204030204" pitchFamily="34" charset="0"/>
              </a:defRPr>
            </a:lvl1pPr>
          </a:lstStyle>
          <a:p>
            <a:pPr lvl="0"/>
            <a:r>
              <a:rPr lang="en-US" dirty="0" err="1"/>
              <a:t>www.website.eu</a:t>
            </a:r>
            <a:endParaRPr lang="en-US" dirty="0"/>
          </a:p>
        </p:txBody>
      </p:sp>
    </p:spTree>
    <p:extLst>
      <p:ext uri="{BB962C8B-B14F-4D97-AF65-F5344CB8AC3E}">
        <p14:creationId xmlns:p14="http://schemas.microsoft.com/office/powerpoint/2010/main" val="375554104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7" name="Freeform 36">
            <a:extLst>
              <a:ext uri="{FF2B5EF4-FFF2-40B4-BE49-F238E27FC236}">
                <a16:creationId xmlns:a16="http://schemas.microsoft.com/office/drawing/2014/main" id="{6B74FF8C-D66B-56C5-C502-E2B8E6C67C08}"/>
              </a:ext>
            </a:extLst>
          </p:cNvPr>
          <p:cNvSpPr/>
          <p:nvPr userDrawn="1"/>
        </p:nvSpPr>
        <p:spPr>
          <a:xfrm>
            <a:off x="-2" y="1"/>
            <a:ext cx="12192001" cy="184612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dirty="0"/>
          </a:p>
        </p:txBody>
      </p:sp>
      <p:sp>
        <p:nvSpPr>
          <p:cNvPr id="143" name="Text Placeholder 32">
            <a:extLst>
              <a:ext uri="{FF2B5EF4-FFF2-40B4-BE49-F238E27FC236}">
                <a16:creationId xmlns:a16="http://schemas.microsoft.com/office/drawing/2014/main" id="{E246BE9B-0F08-0141-BFBB-5CD2D858EA02}"/>
              </a:ext>
            </a:extLst>
          </p:cNvPr>
          <p:cNvSpPr>
            <a:spLocks noGrp="1"/>
          </p:cNvSpPr>
          <p:nvPr>
            <p:ph type="body" sz="quarter" idx="11" hasCustomPrompt="1"/>
          </p:nvPr>
        </p:nvSpPr>
        <p:spPr>
          <a:xfrm>
            <a:off x="2434100" y="244448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1</a:t>
            </a:r>
            <a:endParaRPr lang="en-US" dirty="0"/>
          </a:p>
        </p:txBody>
      </p:sp>
      <p:sp>
        <p:nvSpPr>
          <p:cNvPr id="144" name="Text Placeholder 32">
            <a:extLst>
              <a:ext uri="{FF2B5EF4-FFF2-40B4-BE49-F238E27FC236}">
                <a16:creationId xmlns:a16="http://schemas.microsoft.com/office/drawing/2014/main" id="{C9C54D80-1128-5642-AF19-023C1AFBB107}"/>
              </a:ext>
            </a:extLst>
          </p:cNvPr>
          <p:cNvSpPr>
            <a:spLocks noGrp="1"/>
          </p:cNvSpPr>
          <p:nvPr>
            <p:ph type="body" sz="quarter" idx="49" hasCustomPrompt="1"/>
          </p:nvPr>
        </p:nvSpPr>
        <p:spPr>
          <a:xfrm>
            <a:off x="3567808" y="2444488"/>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Introduction</a:t>
            </a:r>
            <a:endParaRPr lang="en-US" dirty="0"/>
          </a:p>
        </p:txBody>
      </p:sp>
      <p:sp>
        <p:nvSpPr>
          <p:cNvPr id="145" name="Text Placeholder 32">
            <a:extLst>
              <a:ext uri="{FF2B5EF4-FFF2-40B4-BE49-F238E27FC236}">
                <a16:creationId xmlns:a16="http://schemas.microsoft.com/office/drawing/2014/main" id="{67A3DCF8-C8C1-A54D-B2A9-2AEDD386F887}"/>
              </a:ext>
            </a:extLst>
          </p:cNvPr>
          <p:cNvSpPr>
            <a:spLocks noGrp="1"/>
          </p:cNvSpPr>
          <p:nvPr>
            <p:ph type="body" sz="quarter" idx="13" hasCustomPrompt="1"/>
          </p:nvPr>
        </p:nvSpPr>
        <p:spPr>
          <a:xfrm>
            <a:off x="2434100" y="2902464"/>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2</a:t>
            </a:r>
            <a:endParaRPr lang="en-US" dirty="0"/>
          </a:p>
        </p:txBody>
      </p:sp>
      <p:sp>
        <p:nvSpPr>
          <p:cNvPr id="146" name="Text Placeholder 32">
            <a:extLst>
              <a:ext uri="{FF2B5EF4-FFF2-40B4-BE49-F238E27FC236}">
                <a16:creationId xmlns:a16="http://schemas.microsoft.com/office/drawing/2014/main" id="{9FDD29A6-533C-7341-8E91-02079E2FE43E}"/>
              </a:ext>
            </a:extLst>
          </p:cNvPr>
          <p:cNvSpPr>
            <a:spLocks noGrp="1"/>
          </p:cNvSpPr>
          <p:nvPr>
            <p:ph type="body" sz="quarter" idx="14" hasCustomPrompt="1"/>
          </p:nvPr>
        </p:nvSpPr>
        <p:spPr>
          <a:xfrm>
            <a:off x="3567808" y="2902379"/>
            <a:ext cx="5715653" cy="223986"/>
          </a:xfrm>
        </p:spPr>
        <p:txBody>
          <a:bodyPr anchor="ctr">
            <a:noAutofit/>
          </a:bodyPr>
          <a:lstStyle>
            <a:lvl1pPr marL="0" marR="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marL="0" marR="0" lvl="0" indent="0" algn="l" defTabSz="3343281" rtl="0" eaLnBrk="1" fontAlgn="auto" latinLnBrk="0" hangingPunct="1">
              <a:lnSpc>
                <a:spcPct val="100000"/>
              </a:lnSpc>
              <a:spcBef>
                <a:spcPts val="3657"/>
              </a:spcBef>
              <a:spcAft>
                <a:spcPts val="0"/>
              </a:spcAft>
              <a:buClrTx/>
              <a:buSzTx/>
              <a:buFont typeface="Arial" panose="020B0604020202020204" pitchFamily="34" charset="0"/>
              <a:buNone/>
              <a:tabLst/>
              <a:defRPr/>
            </a:pPr>
            <a:r>
              <a:rPr lang="en-GB" dirty="0"/>
              <a:t>About us</a:t>
            </a:r>
            <a:endParaRPr lang="en-US" dirty="0"/>
          </a:p>
        </p:txBody>
      </p:sp>
      <p:sp>
        <p:nvSpPr>
          <p:cNvPr id="147" name="Text Placeholder 32">
            <a:extLst>
              <a:ext uri="{FF2B5EF4-FFF2-40B4-BE49-F238E27FC236}">
                <a16:creationId xmlns:a16="http://schemas.microsoft.com/office/drawing/2014/main" id="{57CE5420-826A-4046-981E-1B3B3695529C}"/>
              </a:ext>
            </a:extLst>
          </p:cNvPr>
          <p:cNvSpPr>
            <a:spLocks noGrp="1"/>
          </p:cNvSpPr>
          <p:nvPr>
            <p:ph type="body" sz="quarter" idx="15" hasCustomPrompt="1"/>
          </p:nvPr>
        </p:nvSpPr>
        <p:spPr>
          <a:xfrm>
            <a:off x="2434100" y="3360440"/>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3</a:t>
            </a:r>
            <a:endParaRPr lang="en-US" dirty="0"/>
          </a:p>
        </p:txBody>
      </p:sp>
      <p:sp>
        <p:nvSpPr>
          <p:cNvPr id="148" name="Text Placeholder 32">
            <a:extLst>
              <a:ext uri="{FF2B5EF4-FFF2-40B4-BE49-F238E27FC236}">
                <a16:creationId xmlns:a16="http://schemas.microsoft.com/office/drawing/2014/main" id="{3F6D97E9-C4D5-AC44-89B9-EABADCA7224E}"/>
              </a:ext>
            </a:extLst>
          </p:cNvPr>
          <p:cNvSpPr>
            <a:spLocks noGrp="1"/>
          </p:cNvSpPr>
          <p:nvPr>
            <p:ph type="body" sz="quarter" idx="19" hasCustomPrompt="1"/>
          </p:nvPr>
        </p:nvSpPr>
        <p:spPr>
          <a:xfrm>
            <a:off x="3567808" y="3360783"/>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he Project</a:t>
            </a:r>
            <a:endParaRPr lang="en-US" dirty="0"/>
          </a:p>
        </p:txBody>
      </p:sp>
      <p:sp>
        <p:nvSpPr>
          <p:cNvPr id="152" name="Text Placeholder 32">
            <a:extLst>
              <a:ext uri="{FF2B5EF4-FFF2-40B4-BE49-F238E27FC236}">
                <a16:creationId xmlns:a16="http://schemas.microsoft.com/office/drawing/2014/main" id="{1EDA7C9E-6821-614B-B581-5907A46DAE4B}"/>
              </a:ext>
            </a:extLst>
          </p:cNvPr>
          <p:cNvSpPr>
            <a:spLocks noGrp="1"/>
          </p:cNvSpPr>
          <p:nvPr>
            <p:ph type="body" sz="quarter" idx="17" hasCustomPrompt="1"/>
          </p:nvPr>
        </p:nvSpPr>
        <p:spPr>
          <a:xfrm>
            <a:off x="2434100" y="3818416"/>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4</a:t>
            </a:r>
            <a:endParaRPr lang="en-US" dirty="0"/>
          </a:p>
        </p:txBody>
      </p:sp>
      <p:sp>
        <p:nvSpPr>
          <p:cNvPr id="156" name="Text Placeholder 32">
            <a:extLst>
              <a:ext uri="{FF2B5EF4-FFF2-40B4-BE49-F238E27FC236}">
                <a16:creationId xmlns:a16="http://schemas.microsoft.com/office/drawing/2014/main" id="{3EECCB46-72D7-5740-9CED-11684DF47D53}"/>
              </a:ext>
            </a:extLst>
          </p:cNvPr>
          <p:cNvSpPr>
            <a:spLocks noGrp="1"/>
          </p:cNvSpPr>
          <p:nvPr>
            <p:ph type="body" sz="quarter" idx="20" hasCustomPrompt="1"/>
          </p:nvPr>
        </p:nvSpPr>
        <p:spPr>
          <a:xfrm>
            <a:off x="3567808" y="3818674"/>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Gallery</a:t>
            </a:r>
            <a:endParaRPr lang="en-US" dirty="0"/>
          </a:p>
        </p:txBody>
      </p:sp>
      <p:sp>
        <p:nvSpPr>
          <p:cNvPr id="158" name="Text Placeholder 32">
            <a:extLst>
              <a:ext uri="{FF2B5EF4-FFF2-40B4-BE49-F238E27FC236}">
                <a16:creationId xmlns:a16="http://schemas.microsoft.com/office/drawing/2014/main" id="{2B4AC3CD-CBEF-5E4F-B4DD-BD4814C7F019}"/>
              </a:ext>
            </a:extLst>
          </p:cNvPr>
          <p:cNvSpPr>
            <a:spLocks noGrp="1"/>
          </p:cNvSpPr>
          <p:nvPr>
            <p:ph type="body" sz="quarter" idx="21" hasCustomPrompt="1"/>
          </p:nvPr>
        </p:nvSpPr>
        <p:spPr>
          <a:xfrm>
            <a:off x="2434100" y="4276392"/>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5</a:t>
            </a:r>
            <a:endParaRPr lang="en-US" dirty="0"/>
          </a:p>
        </p:txBody>
      </p:sp>
      <p:sp>
        <p:nvSpPr>
          <p:cNvPr id="159" name="Text Placeholder 32">
            <a:extLst>
              <a:ext uri="{FF2B5EF4-FFF2-40B4-BE49-F238E27FC236}">
                <a16:creationId xmlns:a16="http://schemas.microsoft.com/office/drawing/2014/main" id="{F367CBF7-CF02-8943-9062-D02DDFD8E2D1}"/>
              </a:ext>
            </a:extLst>
          </p:cNvPr>
          <p:cNvSpPr>
            <a:spLocks noGrp="1"/>
          </p:cNvSpPr>
          <p:nvPr>
            <p:ph type="body" sz="quarter" idx="22" hasCustomPrompt="1"/>
          </p:nvPr>
        </p:nvSpPr>
        <p:spPr>
          <a:xfrm>
            <a:off x="3567808" y="427656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Our Team</a:t>
            </a:r>
            <a:endParaRPr lang="en-US" dirty="0"/>
          </a:p>
        </p:txBody>
      </p:sp>
      <p:sp>
        <p:nvSpPr>
          <p:cNvPr id="161" name="Text Placeholder 32">
            <a:extLst>
              <a:ext uri="{FF2B5EF4-FFF2-40B4-BE49-F238E27FC236}">
                <a16:creationId xmlns:a16="http://schemas.microsoft.com/office/drawing/2014/main" id="{BA3A5A09-F937-7549-8085-E87DDB3C3436}"/>
              </a:ext>
            </a:extLst>
          </p:cNvPr>
          <p:cNvSpPr>
            <a:spLocks noGrp="1"/>
          </p:cNvSpPr>
          <p:nvPr>
            <p:ph type="body" sz="quarter" idx="51" hasCustomPrompt="1"/>
          </p:nvPr>
        </p:nvSpPr>
        <p:spPr>
          <a:xfrm>
            <a:off x="2449647" y="4734368"/>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6</a:t>
            </a:r>
            <a:endParaRPr lang="en-US" dirty="0"/>
          </a:p>
        </p:txBody>
      </p:sp>
      <p:sp>
        <p:nvSpPr>
          <p:cNvPr id="162" name="Text Placeholder 32">
            <a:extLst>
              <a:ext uri="{FF2B5EF4-FFF2-40B4-BE49-F238E27FC236}">
                <a16:creationId xmlns:a16="http://schemas.microsoft.com/office/drawing/2014/main" id="{3125800D-400A-CB4E-BB45-05A321F773EC}"/>
              </a:ext>
            </a:extLst>
          </p:cNvPr>
          <p:cNvSpPr>
            <a:spLocks noGrp="1"/>
          </p:cNvSpPr>
          <p:nvPr>
            <p:ph type="body" sz="quarter" idx="52" hasCustomPrompt="1"/>
          </p:nvPr>
        </p:nvSpPr>
        <p:spPr>
          <a:xfrm>
            <a:off x="3583355" y="4734456"/>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Question and Answers</a:t>
            </a:r>
            <a:endParaRPr lang="en-US" dirty="0"/>
          </a:p>
        </p:txBody>
      </p:sp>
      <p:sp>
        <p:nvSpPr>
          <p:cNvPr id="163" name="Text Placeholder 32">
            <a:extLst>
              <a:ext uri="{FF2B5EF4-FFF2-40B4-BE49-F238E27FC236}">
                <a16:creationId xmlns:a16="http://schemas.microsoft.com/office/drawing/2014/main" id="{8BE77D08-2226-F241-BD4C-C1EE8B229A90}"/>
              </a:ext>
            </a:extLst>
          </p:cNvPr>
          <p:cNvSpPr>
            <a:spLocks noGrp="1"/>
          </p:cNvSpPr>
          <p:nvPr>
            <p:ph type="body" sz="quarter" idx="53" hasCustomPrompt="1"/>
          </p:nvPr>
        </p:nvSpPr>
        <p:spPr>
          <a:xfrm>
            <a:off x="2449647" y="5192345"/>
            <a:ext cx="1045074" cy="223473"/>
          </a:xfrm>
        </p:spPr>
        <p:txBody>
          <a:bodyPr anchor="ctr">
            <a:noAutofit/>
          </a:bodyPr>
          <a:lstStyle>
            <a:lvl1pPr marL="0" indent="0" algn="ctr">
              <a:buNone/>
              <a:defRPr sz="2400" b="1" i="0">
                <a:solidFill>
                  <a:srgbClr val="E87A33"/>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07</a:t>
            </a:r>
            <a:endParaRPr lang="en-US" dirty="0"/>
          </a:p>
        </p:txBody>
      </p:sp>
      <p:sp>
        <p:nvSpPr>
          <p:cNvPr id="164" name="Text Placeholder 32">
            <a:extLst>
              <a:ext uri="{FF2B5EF4-FFF2-40B4-BE49-F238E27FC236}">
                <a16:creationId xmlns:a16="http://schemas.microsoft.com/office/drawing/2014/main" id="{32184336-7547-9A40-A148-9E9B78DCBBAF}"/>
              </a:ext>
            </a:extLst>
          </p:cNvPr>
          <p:cNvSpPr>
            <a:spLocks noGrp="1"/>
          </p:cNvSpPr>
          <p:nvPr>
            <p:ph type="body" sz="quarter" idx="54" hasCustomPrompt="1"/>
          </p:nvPr>
        </p:nvSpPr>
        <p:spPr>
          <a:xfrm>
            <a:off x="3583355" y="5192345"/>
            <a:ext cx="5715653" cy="223473"/>
          </a:xfrm>
        </p:spPr>
        <p:txBody>
          <a:bodyPr anchor="ctr">
            <a:noAutofit/>
          </a:bodyPr>
          <a:lstStyle>
            <a:lvl1pPr marL="0" indent="0" algn="l">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Conclusion</a:t>
            </a:r>
            <a:endParaRPr lang="en-US" dirty="0"/>
          </a:p>
        </p:txBody>
      </p:sp>
      <p:sp>
        <p:nvSpPr>
          <p:cNvPr id="286" name="Rectangle 285">
            <a:extLst>
              <a:ext uri="{FF2B5EF4-FFF2-40B4-BE49-F238E27FC236}">
                <a16:creationId xmlns:a16="http://schemas.microsoft.com/office/drawing/2014/main" id="{DB242B25-6F94-3545-A2C1-E1A9B68738D1}"/>
              </a:ext>
            </a:extLst>
          </p:cNvPr>
          <p:cNvSpPr/>
          <p:nvPr userDrawn="1"/>
        </p:nvSpPr>
        <p:spPr>
          <a:xfrm>
            <a:off x="2721078" y="5671351"/>
            <a:ext cx="4194233" cy="836447"/>
          </a:xfrm>
          <a:prstGeom prst="rect">
            <a:avLst/>
          </a:prstGeom>
        </p:spPr>
        <p:txBody>
          <a:bodyPr wrap="square">
            <a:spAutoFit/>
          </a:bodyPr>
          <a:lstStyle/>
          <a:p>
            <a:pPr marL="0" marR="0" indent="0" algn="just" defTabSz="293378" rtl="0" eaLnBrk="1" fontAlgn="auto" latinLnBrk="0" hangingPunct="0">
              <a:lnSpc>
                <a:spcPct val="100000"/>
              </a:lnSpc>
              <a:spcBef>
                <a:spcPts val="0"/>
              </a:spcBef>
              <a:spcAft>
                <a:spcPts val="0"/>
              </a:spcAft>
              <a:buClrTx/>
              <a:buSzTx/>
              <a:buFontTx/>
              <a:buNone/>
              <a:tabLst/>
              <a:defRPr/>
            </a:pPr>
            <a:r>
              <a:rPr lang="en-GB" sz="967" dirty="0">
                <a:solidFill>
                  <a:srgbClr val="11496E"/>
                </a:solidFill>
                <a:latin typeface="Calibri" panose="020F0502020204030204" pitchFamily="34" charset="0"/>
                <a:ea typeface="Open Sans" panose="020B0606030504020204" pitchFamily="34" charset="0"/>
                <a:cs typeface="Calibri" panose="020F0502020204030204" pitchFamily="34" charset="0"/>
              </a:rPr>
              <a:t>Co-funded by the European Union. Views and opinions expressed are however those of the author or authors only and do not necessarily reflect those of the European Union or the Foundation for the Development of the Education System. Neither the European Union nor the entity providing the grant can be held responsible for them.</a:t>
            </a:r>
            <a:endParaRPr lang="en-US" sz="967"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sp>
        <p:nvSpPr>
          <p:cNvPr id="58" name="Text Placeholder 32">
            <a:extLst>
              <a:ext uri="{FF2B5EF4-FFF2-40B4-BE49-F238E27FC236}">
                <a16:creationId xmlns:a16="http://schemas.microsoft.com/office/drawing/2014/main" id="{A7E9440F-DDEC-434B-9346-8F02B164E9B2}"/>
              </a:ext>
            </a:extLst>
          </p:cNvPr>
          <p:cNvSpPr>
            <a:spLocks noGrp="1"/>
          </p:cNvSpPr>
          <p:nvPr>
            <p:ph type="body" sz="quarter" idx="61" hasCustomPrompt="1"/>
          </p:nvPr>
        </p:nvSpPr>
        <p:spPr>
          <a:xfrm>
            <a:off x="2694576" y="821841"/>
            <a:ext cx="3692066" cy="532331"/>
          </a:xfrm>
        </p:spPr>
        <p:txBody>
          <a:bodyPr anchor="ctr">
            <a:noAutofit/>
          </a:bodyPr>
          <a:lstStyle>
            <a:lvl1pPr marL="0" indent="0" algn="l">
              <a:lnSpc>
                <a:spcPts val="3190"/>
              </a:lnSpc>
              <a:spcBef>
                <a:spcPts val="0"/>
              </a:spcBef>
              <a:buNone/>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21906" indent="0">
              <a:buNone/>
              <a:defRPr sz="5266">
                <a:solidFill>
                  <a:srgbClr val="011E3B"/>
                </a:solidFill>
                <a:latin typeface="Montserrat" pitchFamily="2" charset="77"/>
              </a:defRPr>
            </a:lvl2pPr>
            <a:lvl3pPr marL="1243813" indent="0">
              <a:buNone/>
              <a:defRPr sz="5266">
                <a:solidFill>
                  <a:srgbClr val="011E3B"/>
                </a:solidFill>
                <a:latin typeface="Montserrat" pitchFamily="2" charset="77"/>
              </a:defRPr>
            </a:lvl3pPr>
            <a:lvl4pPr marL="1865719" indent="0">
              <a:buNone/>
              <a:defRPr sz="5266">
                <a:solidFill>
                  <a:srgbClr val="011E3B"/>
                </a:solidFill>
                <a:latin typeface="Montserrat" pitchFamily="2" charset="77"/>
              </a:defRPr>
            </a:lvl4pPr>
            <a:lvl5pPr marL="2487628" indent="0">
              <a:buNone/>
              <a:defRPr sz="5266">
                <a:solidFill>
                  <a:srgbClr val="011E3B"/>
                </a:solidFill>
                <a:latin typeface="Montserrat" pitchFamily="2" charset="77"/>
              </a:defRPr>
            </a:lvl5pPr>
          </a:lstStyle>
          <a:p>
            <a:pPr lvl="0"/>
            <a:r>
              <a:rPr lang="en-GB" dirty="0"/>
              <a:t>TABLE OF CONTENTS</a:t>
            </a:r>
            <a:endParaRPr lang="en-US" dirty="0"/>
          </a:p>
        </p:txBody>
      </p:sp>
      <p:grpSp>
        <p:nvGrpSpPr>
          <p:cNvPr id="32" name="Group 31">
            <a:extLst>
              <a:ext uri="{FF2B5EF4-FFF2-40B4-BE49-F238E27FC236}">
                <a16:creationId xmlns:a16="http://schemas.microsoft.com/office/drawing/2014/main" id="{51C2F8C0-A5CA-C542-B154-C949A59DEFE7}"/>
              </a:ext>
            </a:extLst>
          </p:cNvPr>
          <p:cNvGrpSpPr/>
          <p:nvPr userDrawn="1"/>
        </p:nvGrpSpPr>
        <p:grpSpPr>
          <a:xfrm>
            <a:off x="7546237" y="5794892"/>
            <a:ext cx="2735993" cy="679345"/>
            <a:chOff x="0" y="0"/>
            <a:chExt cx="2301694" cy="571500"/>
          </a:xfrm>
        </p:grpSpPr>
        <p:sp>
          <p:nvSpPr>
            <p:cNvPr id="33" name="Rectangle 32">
              <a:extLst>
                <a:ext uri="{FF2B5EF4-FFF2-40B4-BE49-F238E27FC236}">
                  <a16:creationId xmlns:a16="http://schemas.microsoft.com/office/drawing/2014/main" id="{65C3F60E-1A9C-7548-9AF3-F3DC2492698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34" name="Picture 33">
              <a:extLst>
                <a:ext uri="{FF2B5EF4-FFF2-40B4-BE49-F238E27FC236}">
                  <a16:creationId xmlns:a16="http://schemas.microsoft.com/office/drawing/2014/main" id="{50E12723-56AA-9A42-BFE6-5A8D843584E6}"/>
                </a:ext>
              </a:extLst>
            </p:cNvPr>
            <p:cNvPicPr>
              <a:picLocks noChangeAspect="1"/>
            </p:cNvPicPr>
            <p:nvPr/>
          </p:nvPicPr>
          <p:blipFill>
            <a:blip r:embed="rId2" cstate="email">
              <a:extLst>
                <a:ext uri="{28A0092B-C50C-407E-A947-70E740481C1C}">
                  <a14:useLocalDpi xmlns:a14="http://schemas.microsoft.com/office/drawing/2010/main"/>
                </a:ext>
              </a:extLst>
            </a:blip>
            <a:srcRect l="1420" r="1420"/>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grpSp>
        <p:nvGrpSpPr>
          <p:cNvPr id="2" name="Group 1">
            <a:extLst>
              <a:ext uri="{FF2B5EF4-FFF2-40B4-BE49-F238E27FC236}">
                <a16:creationId xmlns:a16="http://schemas.microsoft.com/office/drawing/2014/main" id="{D2CFE794-58A0-462D-6BE1-7F3815412160}"/>
              </a:ext>
            </a:extLst>
          </p:cNvPr>
          <p:cNvGrpSpPr/>
          <p:nvPr userDrawn="1"/>
        </p:nvGrpSpPr>
        <p:grpSpPr>
          <a:xfrm rot="5400000">
            <a:off x="-823306" y="1564548"/>
            <a:ext cx="3088508" cy="1441896"/>
            <a:chOff x="-1871944" y="1778846"/>
            <a:chExt cx="1736764" cy="810823"/>
          </a:xfrm>
        </p:grpSpPr>
        <p:sp>
          <p:nvSpPr>
            <p:cNvPr id="3" name="Freeform 2">
              <a:extLst>
                <a:ext uri="{FF2B5EF4-FFF2-40B4-BE49-F238E27FC236}">
                  <a16:creationId xmlns:a16="http://schemas.microsoft.com/office/drawing/2014/main" id="{762C12FE-87D4-5472-04C9-E3F4BA0BCC6C}"/>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50D55092-AA96-02A7-A72F-AF8D47FEBF10}"/>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523F1CDA-C420-102F-C9FF-31E563EDDC8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F5289117-30AA-BAE5-0D17-D06BE1032DA4}"/>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09BCDEC-B15A-1460-3D26-5711E101886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8FEFD179-2B75-FB68-156B-4CCC63B1ED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47572136"/>
      </p:ext>
    </p:extLst>
  </p:cSld>
  <p:clrMapOvr>
    <a:masterClrMapping/>
  </p:clrMapOvr>
  <p:extLst>
    <p:ext uri="{DCECCB84-F9BA-43D5-87BE-67443E8EF086}">
      <p15:sldGuideLst xmlns:p15="http://schemas.microsoft.com/office/powerpoint/2012/main">
        <p15:guide id="1" pos="47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884606"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704606"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3884995921"/>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Welcome/Intro Sli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DA844F8-FCB0-C045-A083-951082B6589C}"/>
              </a:ext>
            </a:extLst>
          </p:cNvPr>
          <p:cNvSpPr>
            <a:spLocks noGrp="1"/>
          </p:cNvSpPr>
          <p:nvPr>
            <p:ph type="pic" sz="quarter" idx="21"/>
          </p:nvPr>
        </p:nvSpPr>
        <p:spPr>
          <a:xfrm>
            <a:off x="-102977" y="0"/>
            <a:ext cx="4993772" cy="6858000"/>
          </a:xfrm>
          <a:custGeom>
            <a:avLst/>
            <a:gdLst>
              <a:gd name="connsiteX0" fmla="*/ 0 w 4993772"/>
              <a:gd name="connsiteY0" fmla="*/ 0 h 6858000"/>
              <a:gd name="connsiteX1" fmla="*/ 4993772 w 4993772"/>
              <a:gd name="connsiteY1" fmla="*/ 0 h 6858000"/>
              <a:gd name="connsiteX2" fmla="*/ 4993772 w 4993772"/>
              <a:gd name="connsiteY2" fmla="*/ 6858000 h 6858000"/>
              <a:gd name="connsiteX3" fmla="*/ 0 w 4993772"/>
              <a:gd name="connsiteY3" fmla="*/ 6858000 h 6858000"/>
              <a:gd name="connsiteX4" fmla="*/ 0 w 4993772"/>
              <a:gd name="connsiteY4" fmla="*/ 6301946 h 6858000"/>
              <a:gd name="connsiteX5" fmla="*/ 180000 w 4993772"/>
              <a:gd name="connsiteY5" fmla="*/ 6301946 h 6858000"/>
              <a:gd name="connsiteX6" fmla="*/ 180000 w 4993772"/>
              <a:gd name="connsiteY6" fmla="*/ 4861945 h 6858000"/>
              <a:gd name="connsiteX7" fmla="*/ 0 w 4993772"/>
              <a:gd name="connsiteY7" fmla="*/ 48619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3772" h="6858000">
                <a:moveTo>
                  <a:pt x="0" y="0"/>
                </a:moveTo>
                <a:lnTo>
                  <a:pt x="4993772" y="0"/>
                </a:lnTo>
                <a:lnTo>
                  <a:pt x="4993772" y="6858000"/>
                </a:lnTo>
                <a:lnTo>
                  <a:pt x="0" y="6858000"/>
                </a:lnTo>
                <a:lnTo>
                  <a:pt x="0" y="6301946"/>
                </a:lnTo>
                <a:lnTo>
                  <a:pt x="180000" y="6301946"/>
                </a:lnTo>
                <a:lnTo>
                  <a:pt x="180000" y="4861945"/>
                </a:lnTo>
                <a:lnTo>
                  <a:pt x="0" y="4861945"/>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33" name="Text Placeholder 32">
            <a:extLst>
              <a:ext uri="{FF2B5EF4-FFF2-40B4-BE49-F238E27FC236}">
                <a16:creationId xmlns:a16="http://schemas.microsoft.com/office/drawing/2014/main" id="{CAF944C7-C217-DB48-AC66-EC08BD9F2E64}"/>
              </a:ext>
            </a:extLst>
          </p:cNvPr>
          <p:cNvSpPr>
            <a:spLocks noGrp="1"/>
          </p:cNvSpPr>
          <p:nvPr>
            <p:ph type="body" sz="quarter" idx="30" hasCustomPrompt="1"/>
          </p:nvPr>
        </p:nvSpPr>
        <p:spPr>
          <a:xfrm>
            <a:off x="4890795" y="738798"/>
            <a:ext cx="6776598" cy="842867"/>
          </a:xfrm>
          <a:solidFill>
            <a:srgbClr val="2094D2"/>
          </a:solidFill>
        </p:spPr>
        <p:txBody>
          <a:bodyPr anchor="ctr">
            <a:noAutofit/>
          </a:bodyPr>
          <a:lstStyle>
            <a:lvl1pPr marL="273050" indent="0" algn="l">
              <a:buNone/>
              <a:tabLst/>
              <a:defRPr sz="3600" b="1" i="0" spc="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64ED5023-80E2-C04D-8620-99E5F464CE91}"/>
              </a:ext>
            </a:extLst>
          </p:cNvPr>
          <p:cNvSpPr>
            <a:spLocks noGrp="1"/>
          </p:cNvSpPr>
          <p:nvPr>
            <p:ph type="body" sz="quarter" idx="48" hasCustomPrompt="1"/>
          </p:nvPr>
        </p:nvSpPr>
        <p:spPr>
          <a:xfrm>
            <a:off x="6727723" y="2412091"/>
            <a:ext cx="4939670" cy="3889855"/>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9" name="Freeform 8">
            <a:extLst>
              <a:ext uri="{FF2B5EF4-FFF2-40B4-BE49-F238E27FC236}">
                <a16:creationId xmlns:a16="http://schemas.microsoft.com/office/drawing/2014/main" id="{0DF46C80-E1AF-4956-2ABD-90248B67156F}"/>
              </a:ext>
            </a:extLst>
          </p:cNvPr>
          <p:cNvSpPr/>
          <p:nvPr userDrawn="1"/>
        </p:nvSpPr>
        <p:spPr>
          <a:xfrm>
            <a:off x="-178200" y="4858346"/>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75735505"/>
      </p:ext>
    </p:extLst>
  </p:cSld>
  <p:clrMapOvr>
    <a:masterClrMapping/>
  </p:clrMapOvr>
  <p:extLst>
    <p:ext uri="{DCECCB84-F9BA-43D5-87BE-67443E8EF086}">
      <p15:sldGuideLst xmlns:p15="http://schemas.microsoft.com/office/powerpoint/2012/main">
        <p15:guide id="1" pos="475" userDrawn="1">
          <p15:clr>
            <a:srgbClr val="FBAE40"/>
          </p15:clr>
        </p15:guide>
        <p15:guide id="2" pos="716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8" name="Freeform 7">
            <a:extLst>
              <a:ext uri="{FF2B5EF4-FFF2-40B4-BE49-F238E27FC236}">
                <a16:creationId xmlns:a16="http://schemas.microsoft.com/office/drawing/2014/main" id="{282DA373-D882-C787-AB62-F6768BB001C0}"/>
              </a:ext>
            </a:extLst>
          </p:cNvPr>
          <p:cNvSpPr/>
          <p:nvPr userDrawn="1"/>
        </p:nvSpPr>
        <p:spPr>
          <a:xfrm>
            <a:off x="-2" y="4425687"/>
            <a:ext cx="12222687" cy="1437597"/>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
        <p:nvSpPr>
          <p:cNvPr id="57" name="Text Placeholder 3">
            <a:extLst>
              <a:ext uri="{FF2B5EF4-FFF2-40B4-BE49-F238E27FC236}">
                <a16:creationId xmlns:a16="http://schemas.microsoft.com/office/drawing/2014/main" id="{72EE2CF0-D590-9D49-88CE-03DDDC527CE3}"/>
              </a:ext>
            </a:extLst>
          </p:cNvPr>
          <p:cNvSpPr>
            <a:spLocks noGrp="1"/>
          </p:cNvSpPr>
          <p:nvPr>
            <p:ph type="body" sz="quarter" idx="14" hasCustomPrompt="1"/>
          </p:nvPr>
        </p:nvSpPr>
        <p:spPr>
          <a:xfrm>
            <a:off x="1845059" y="994716"/>
            <a:ext cx="4279038" cy="757034"/>
          </a:xfrm>
          <a:effectLst>
            <a:glow rad="127000">
              <a:srgbClr val="414141"/>
            </a:glow>
          </a:effectLst>
        </p:spPr>
        <p:txBody>
          <a:bodyPr>
            <a:noAutofit/>
          </a:bodyPr>
          <a:lstStyle>
            <a:lvl1pPr marL="0" indent="0" algn="r">
              <a:buNone/>
              <a:defRPr sz="11613" b="1">
                <a:solidFill>
                  <a:srgbClr val="1C1442"/>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0" name="Picture Placeholder 5">
            <a:extLst>
              <a:ext uri="{FF2B5EF4-FFF2-40B4-BE49-F238E27FC236}">
                <a16:creationId xmlns:a16="http://schemas.microsoft.com/office/drawing/2014/main" id="{5A1F1DAD-078A-A73A-851E-3376F966C155}"/>
              </a:ext>
            </a:extLst>
          </p:cNvPr>
          <p:cNvSpPr>
            <a:spLocks noGrp="1"/>
          </p:cNvSpPr>
          <p:nvPr>
            <p:ph type="pic" sz="quarter" idx="19"/>
          </p:nvPr>
        </p:nvSpPr>
        <p:spPr>
          <a:xfrm>
            <a:off x="-1" y="774915"/>
            <a:ext cx="7377194" cy="4244425"/>
          </a:xfrm>
          <a:solidFill>
            <a:schemeClr val="bg1">
              <a:lumMod val="95000"/>
            </a:schemeClr>
          </a:solidFill>
        </p:spPr>
        <p:txBody>
          <a:bodyPr>
            <a:normAutofit/>
          </a:bodyPr>
          <a:lstStyle>
            <a:lvl1pPr marL="0" indent="0" algn="ctr">
              <a:buNone/>
              <a:defRPr sz="1000"/>
            </a:lvl1pPr>
          </a:lstStyle>
          <a:p>
            <a:endParaRPr lang="en-US" dirty="0"/>
          </a:p>
        </p:txBody>
      </p:sp>
      <p:sp>
        <p:nvSpPr>
          <p:cNvPr id="12" name="Text Placeholder 3">
            <a:extLst>
              <a:ext uri="{FF2B5EF4-FFF2-40B4-BE49-F238E27FC236}">
                <a16:creationId xmlns:a16="http://schemas.microsoft.com/office/drawing/2014/main" id="{0320215C-2ADA-6008-9C24-7D5642C2973A}"/>
              </a:ext>
            </a:extLst>
          </p:cNvPr>
          <p:cNvSpPr>
            <a:spLocks noGrp="1"/>
          </p:cNvSpPr>
          <p:nvPr>
            <p:ph type="body" sz="quarter" idx="18" hasCustomPrompt="1"/>
          </p:nvPr>
        </p:nvSpPr>
        <p:spPr>
          <a:xfrm>
            <a:off x="8634200" y="1109465"/>
            <a:ext cx="3113515" cy="2850370"/>
          </a:xfrm>
          <a:effectLst>
            <a:glow rad="127000">
              <a:srgbClr val="414141"/>
            </a:glow>
          </a:effectLst>
        </p:spPr>
        <p:txBody>
          <a:bodyPr>
            <a:noAutofit/>
          </a:bodyPr>
          <a:lstStyle>
            <a:lvl1pPr marL="0" indent="0" algn="l">
              <a:buNone/>
              <a:defRPr sz="2800" b="0">
                <a:solidFill>
                  <a:srgbClr val="11496E"/>
                </a:solidFill>
                <a:latin typeface="Calibri" panose="020F0502020204030204" pitchFamily="34" charset="0"/>
                <a:cs typeface="Calibri" panose="020F0502020204030204" pitchFamily="34" charset="0"/>
              </a:defRPr>
            </a:lvl1pPr>
          </a:lstStyle>
          <a:p>
            <a:pPr lvl="0"/>
            <a:r>
              <a:rPr lang="en-GB" dirty="0"/>
              <a:t>TITLE</a:t>
            </a:r>
            <a:endParaRPr lang="en-US" dirty="0"/>
          </a:p>
        </p:txBody>
      </p:sp>
      <p:sp>
        <p:nvSpPr>
          <p:cNvPr id="16" name="Text Placeholder 3">
            <a:extLst>
              <a:ext uri="{FF2B5EF4-FFF2-40B4-BE49-F238E27FC236}">
                <a16:creationId xmlns:a16="http://schemas.microsoft.com/office/drawing/2014/main" id="{5EA9094F-CE4B-0154-3FA5-E8699A6251D5}"/>
              </a:ext>
            </a:extLst>
          </p:cNvPr>
          <p:cNvSpPr>
            <a:spLocks noGrp="1"/>
          </p:cNvSpPr>
          <p:nvPr>
            <p:ph type="body" sz="quarter" idx="20" hasCustomPrompt="1"/>
          </p:nvPr>
        </p:nvSpPr>
        <p:spPr>
          <a:xfrm>
            <a:off x="2683500" y="2586073"/>
            <a:ext cx="4568533" cy="2513490"/>
          </a:xfrm>
          <a:effectLst>
            <a:glow rad="127000">
              <a:srgbClr val="414141"/>
            </a:glow>
          </a:effectLst>
        </p:spPr>
        <p:txBody>
          <a:bodyPr>
            <a:noAutofit/>
          </a:bodyPr>
          <a:lstStyle>
            <a:lvl1pPr marL="0" indent="0" algn="r">
              <a:buNone/>
              <a:defRPr sz="20000" b="1">
                <a:solidFill>
                  <a:schemeClr val="bg1"/>
                </a:solidFill>
                <a:latin typeface="Calibri" panose="020F0502020204030204" pitchFamily="34" charset="0"/>
                <a:cs typeface="Calibri" panose="020F0502020204030204" pitchFamily="34" charset="0"/>
              </a:defRPr>
            </a:lvl1pPr>
          </a:lstStyle>
          <a:p>
            <a:pPr lvl="0"/>
            <a:r>
              <a:rPr lang="en-GB" dirty="0"/>
              <a:t>01</a:t>
            </a:r>
            <a:endParaRPr lang="en-US" dirty="0"/>
          </a:p>
        </p:txBody>
      </p:sp>
      <p:sp>
        <p:nvSpPr>
          <p:cNvPr id="14" name="Freeform 13">
            <a:extLst>
              <a:ext uri="{FF2B5EF4-FFF2-40B4-BE49-F238E27FC236}">
                <a16:creationId xmlns:a16="http://schemas.microsoft.com/office/drawing/2014/main" id="{510BE810-6A0B-B23F-1263-9C2E2A7EFEC6}"/>
              </a:ext>
            </a:extLst>
          </p:cNvPr>
          <p:cNvSpPr/>
          <p:nvPr userDrawn="1"/>
        </p:nvSpPr>
        <p:spPr>
          <a:xfrm>
            <a:off x="7377192" y="1240767"/>
            <a:ext cx="1062667" cy="86264"/>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60BA47"/>
          </a:solidFill>
          <a:ln w="28891" cap="flat">
            <a:noFill/>
            <a:prstDash val="solid"/>
            <a:miter/>
          </a:ln>
        </p:spPr>
        <p:txBody>
          <a:bodyPr rtlCol="0" anchor="ctr"/>
          <a:lstStyle/>
          <a:p>
            <a:endParaRPr lang="en-US"/>
          </a:p>
        </p:txBody>
      </p:sp>
      <p:sp>
        <p:nvSpPr>
          <p:cNvPr id="17" name="Rectangle 16">
            <a:extLst>
              <a:ext uri="{FF2B5EF4-FFF2-40B4-BE49-F238E27FC236}">
                <a16:creationId xmlns:a16="http://schemas.microsoft.com/office/drawing/2014/main" id="{DC162A94-5E7B-0BAE-1C49-AD7CF1786063}"/>
              </a:ext>
            </a:extLst>
          </p:cNvPr>
          <p:cNvSpPr/>
          <p:nvPr userDrawn="1"/>
        </p:nvSpPr>
        <p:spPr>
          <a:xfrm>
            <a:off x="7908525" y="6408468"/>
            <a:ext cx="3778250" cy="184666"/>
          </a:xfrm>
          <a:prstGeom prst="rect">
            <a:avLst/>
          </a:prstGeom>
        </p:spPr>
        <p:txBody>
          <a:bodyPr>
            <a:spAutoFit/>
          </a:bodyPr>
          <a:lstStyle/>
          <a:p>
            <a:pPr algn="r"/>
            <a:r>
              <a:rPr lang="en-US" sz="600" kern="900" spc="230" baseline="0" dirty="0">
                <a:solidFill>
                  <a:srgbClr val="11496E"/>
                </a:solidFill>
                <a:latin typeface="Calibri" panose="020F0502020204030204" pitchFamily="34" charset="0"/>
                <a:cs typeface="Calibri" panose="020F0502020204030204" pitchFamily="34" charset="0"/>
              </a:rPr>
              <a:t>Ethical, Green, Youth Entrepreneurship Education</a:t>
            </a:r>
          </a:p>
        </p:txBody>
      </p:sp>
    </p:spTree>
    <p:extLst>
      <p:ext uri="{BB962C8B-B14F-4D97-AF65-F5344CB8AC3E}">
        <p14:creationId xmlns:p14="http://schemas.microsoft.com/office/powerpoint/2010/main" val="30940330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1">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94DD511-F818-3742-804D-F48935BFC779}"/>
              </a:ext>
            </a:extLst>
          </p:cNvPr>
          <p:cNvSpPr>
            <a:spLocks noGrp="1"/>
          </p:cNvSpPr>
          <p:nvPr>
            <p:ph type="pic" sz="quarter" idx="21"/>
          </p:nvPr>
        </p:nvSpPr>
        <p:spPr>
          <a:xfrm>
            <a:off x="5674559" y="546533"/>
            <a:ext cx="5884396" cy="5640006"/>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4" name="Picture Placeholder 13">
            <a:extLst>
              <a:ext uri="{FF2B5EF4-FFF2-40B4-BE49-F238E27FC236}">
                <a16:creationId xmlns:a16="http://schemas.microsoft.com/office/drawing/2014/main" id="{084BE7BB-B86A-F14B-AAC9-4DF7A79CCB03}"/>
              </a:ext>
            </a:extLst>
          </p:cNvPr>
          <p:cNvSpPr>
            <a:spLocks noGrp="1"/>
          </p:cNvSpPr>
          <p:nvPr>
            <p:ph type="pic" sz="quarter" idx="22"/>
          </p:nvPr>
        </p:nvSpPr>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1" name="Picture Placeholder 2">
            <a:extLst>
              <a:ext uri="{FF2B5EF4-FFF2-40B4-BE49-F238E27FC236}">
                <a16:creationId xmlns:a16="http://schemas.microsoft.com/office/drawing/2014/main" id="{B0BC1973-E64D-D942-9664-0F5CC3679F56}"/>
              </a:ext>
            </a:extLst>
          </p:cNvPr>
          <p:cNvSpPr>
            <a:spLocks noGrp="1"/>
          </p:cNvSpPr>
          <p:nvPr>
            <p:ph type="pic" sz="quarter" idx="23"/>
          </p:nvPr>
        </p:nvSpPr>
        <p:spPr>
          <a:xfrm>
            <a:off x="773723" y="566733"/>
            <a:ext cx="4654800" cy="2052273"/>
          </a:xfrm>
          <a:solidFill>
            <a:schemeClr val="bg1">
              <a:lumMod val="85000"/>
            </a:schemeClr>
          </a:solidFill>
        </p:spPr>
        <p:txBody>
          <a:bodyPr/>
          <a:lstStyle>
            <a:lvl1pPr marL="0" indent="0" algn="ctr">
              <a:buNone/>
              <a:defRPr>
                <a:solidFill>
                  <a:schemeClr val="bg1">
                    <a:lumMod val="85000"/>
                  </a:schemeClr>
                </a:solidFill>
              </a:defRPr>
            </a:lvl1pPr>
          </a:lstStyle>
          <a:p>
            <a:endParaRPr lang="en-US" dirty="0"/>
          </a:p>
        </p:txBody>
      </p:sp>
      <p:sp>
        <p:nvSpPr>
          <p:cNvPr id="10" name="Freeform 9">
            <a:extLst>
              <a:ext uri="{FF2B5EF4-FFF2-40B4-BE49-F238E27FC236}">
                <a16:creationId xmlns:a16="http://schemas.microsoft.com/office/drawing/2014/main" id="{7557E106-B2BD-1152-526A-EEFEA92320E0}"/>
              </a:ext>
            </a:extLst>
          </p:cNvPr>
          <p:cNvSpPr/>
          <p:nvPr userDrawn="1"/>
        </p:nvSpPr>
        <p:spPr>
          <a:xfrm>
            <a:off x="658169" y="4238995"/>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785774958"/>
      </p:ext>
    </p:extLst>
  </p:cSld>
  <p:clrMapOvr>
    <a:masterClrMapping/>
  </p:clrMapOvr>
  <p:extLst>
    <p:ext uri="{DCECCB84-F9BA-43D5-87BE-67443E8EF086}">
      <p15:sldGuideLst xmlns:p15="http://schemas.microsoft.com/office/powerpoint/2012/main">
        <p15:guide id="1" orient="horz" pos="412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EFB69382-839E-D646-89C9-E5867CB9B0E9}"/>
              </a:ext>
            </a:extLst>
          </p:cNvPr>
          <p:cNvSpPr>
            <a:spLocks noGrp="1"/>
          </p:cNvSpPr>
          <p:nvPr>
            <p:ph type="pic" sz="quarter" idx="21"/>
          </p:nvPr>
        </p:nvSpPr>
        <p:spPr>
          <a:xfrm>
            <a:off x="0" y="0"/>
            <a:ext cx="5875886" cy="6858000"/>
          </a:xfrm>
          <a:custGeom>
            <a:avLst/>
            <a:gdLst>
              <a:gd name="connsiteX0" fmla="*/ 0 w 5875886"/>
              <a:gd name="connsiteY0" fmla="*/ 0 h 6858000"/>
              <a:gd name="connsiteX1" fmla="*/ 5875886 w 5875886"/>
              <a:gd name="connsiteY1" fmla="*/ 0 h 6858000"/>
              <a:gd name="connsiteX2" fmla="*/ 5875886 w 5875886"/>
              <a:gd name="connsiteY2" fmla="*/ 737390 h 6858000"/>
              <a:gd name="connsiteX3" fmla="*/ 5688883 w 5875886"/>
              <a:gd name="connsiteY3" fmla="*/ 737390 h 6858000"/>
              <a:gd name="connsiteX4" fmla="*/ 5688883 w 5875886"/>
              <a:gd name="connsiteY4" fmla="*/ 2177391 h 6858000"/>
              <a:gd name="connsiteX5" fmla="*/ 5875886 w 5875886"/>
              <a:gd name="connsiteY5" fmla="*/ 2177391 h 6858000"/>
              <a:gd name="connsiteX6" fmla="*/ 5875886 w 5875886"/>
              <a:gd name="connsiteY6" fmla="*/ 6858000 h 6858000"/>
              <a:gd name="connsiteX7" fmla="*/ 0 w 587588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75886" h="6858000">
                <a:moveTo>
                  <a:pt x="0" y="0"/>
                </a:moveTo>
                <a:lnTo>
                  <a:pt x="5875886" y="0"/>
                </a:lnTo>
                <a:lnTo>
                  <a:pt x="5875886" y="737390"/>
                </a:lnTo>
                <a:lnTo>
                  <a:pt x="5688883" y="737390"/>
                </a:lnTo>
                <a:lnTo>
                  <a:pt x="5688883" y="2177391"/>
                </a:lnTo>
                <a:lnTo>
                  <a:pt x="5875886" y="2177391"/>
                </a:lnTo>
                <a:lnTo>
                  <a:pt x="5875886"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8" name="Text Placeholder 32">
            <a:extLst>
              <a:ext uri="{FF2B5EF4-FFF2-40B4-BE49-F238E27FC236}">
                <a16:creationId xmlns:a16="http://schemas.microsoft.com/office/drawing/2014/main" id="{D1327D4F-D423-AA4A-B02C-CB1BD40DADE5}"/>
              </a:ext>
            </a:extLst>
          </p:cNvPr>
          <p:cNvSpPr>
            <a:spLocks noGrp="1"/>
          </p:cNvSpPr>
          <p:nvPr>
            <p:ph type="body" sz="quarter" idx="30" hasCustomPrompt="1"/>
          </p:nvPr>
        </p:nvSpPr>
        <p:spPr>
          <a:xfrm>
            <a:off x="6427466" y="993256"/>
            <a:ext cx="4951851" cy="845139"/>
          </a:xfrm>
        </p:spPr>
        <p:txBody>
          <a:bodyPr>
            <a:noAutofit/>
          </a:bodyPr>
          <a:lstStyle>
            <a:lvl1pPr marL="0" indent="0" algn="l">
              <a:buNone/>
              <a:defRPr sz="3600" b="1" i="0">
                <a:solidFill>
                  <a:srgbClr val="60BA47"/>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20" name="Text Placeholder 32">
            <a:extLst>
              <a:ext uri="{FF2B5EF4-FFF2-40B4-BE49-F238E27FC236}">
                <a16:creationId xmlns:a16="http://schemas.microsoft.com/office/drawing/2014/main" id="{0D0EC778-7AF1-8B42-A6E0-0E1E706BF8C5}"/>
              </a:ext>
            </a:extLst>
          </p:cNvPr>
          <p:cNvSpPr>
            <a:spLocks noGrp="1"/>
          </p:cNvSpPr>
          <p:nvPr>
            <p:ph type="body" sz="quarter" idx="48" hasCustomPrompt="1"/>
          </p:nvPr>
        </p:nvSpPr>
        <p:spPr>
          <a:xfrm>
            <a:off x="6427466" y="2561474"/>
            <a:ext cx="4939670" cy="3466570"/>
          </a:xfrm>
        </p:spPr>
        <p:txBody>
          <a:bodyPr numCol="1" spcCol="288000" anchor="t">
            <a:noAutofit/>
          </a:bodyPr>
          <a:lstStyle>
            <a:lvl1pPr marL="0" indent="0" algn="l">
              <a:lnSpc>
                <a:spcPct val="100000"/>
              </a:lnSpc>
              <a:spcBef>
                <a:spcPts val="0"/>
              </a:spcBef>
              <a:buNone/>
              <a:defRPr sz="1774"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6" name="Freeform 5">
            <a:extLst>
              <a:ext uri="{FF2B5EF4-FFF2-40B4-BE49-F238E27FC236}">
                <a16:creationId xmlns:a16="http://schemas.microsoft.com/office/drawing/2014/main" id="{93B65F0E-A741-5E93-629D-5EF7452EDBB9}"/>
              </a:ext>
            </a:extLst>
          </p:cNvPr>
          <p:cNvSpPr/>
          <p:nvPr userDrawn="1"/>
        </p:nvSpPr>
        <p:spPr>
          <a:xfrm>
            <a:off x="5686347" y="742084"/>
            <a:ext cx="356400" cy="1443600"/>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900292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7FAD2C0-DBDF-CC43-8DF5-5E7DB4F84012}"/>
              </a:ext>
            </a:extLst>
          </p:cNvPr>
          <p:cNvSpPr/>
          <p:nvPr userDrawn="1"/>
        </p:nvSpPr>
        <p:spPr bwMode="auto">
          <a:xfrm>
            <a:off x="2031599" y="304623"/>
            <a:ext cx="8128800" cy="4355963"/>
          </a:xfrm>
          <a:prstGeom prst="rect">
            <a:avLst/>
          </a:prstGeom>
          <a:solidFill>
            <a:schemeClr val="bg1"/>
          </a:solidFill>
          <a:ln w="12700" cap="flat">
            <a:noFill/>
            <a:prstDash val="solid"/>
            <a:miter lim="800000"/>
            <a:headEnd/>
            <a:tailEnd/>
          </a:ln>
          <a:effectLst/>
        </p:spPr>
        <p:txBody>
          <a:bodyPr vert="horz" wrap="square" lIns="145436" tIns="72717" rIns="145436" bIns="72717" numCol="1" rtlCol="0" anchor="t" anchorCtr="0" compatLnSpc="1">
            <a:prstTxWarp prst="textNoShape">
              <a:avLst/>
            </a:prstTxWarp>
          </a:bodyPr>
          <a:lstStyle/>
          <a:p>
            <a:pPr algn="ctr"/>
            <a:endParaRPr lang="fr-CA" sz="6926" dirty="0"/>
          </a:p>
        </p:txBody>
      </p:sp>
      <p:sp>
        <p:nvSpPr>
          <p:cNvPr id="19" name="Picture Placeholder 18">
            <a:extLst>
              <a:ext uri="{FF2B5EF4-FFF2-40B4-BE49-F238E27FC236}">
                <a16:creationId xmlns:a16="http://schemas.microsoft.com/office/drawing/2014/main" id="{98E42465-1BA7-D440-A53F-E8A7AD1B0B47}"/>
              </a:ext>
            </a:extLst>
          </p:cNvPr>
          <p:cNvSpPr>
            <a:spLocks noGrp="1"/>
          </p:cNvSpPr>
          <p:nvPr>
            <p:ph type="pic" sz="quarter" idx="21"/>
          </p:nvPr>
        </p:nvSpPr>
        <p:spPr>
          <a:xfrm>
            <a:off x="0" y="0"/>
            <a:ext cx="12192000" cy="6858000"/>
          </a:xfrm>
          <a:custGeom>
            <a:avLst/>
            <a:gdLst>
              <a:gd name="connsiteX0" fmla="*/ 0 w 12192000"/>
              <a:gd name="connsiteY0" fmla="*/ 0 h 6858000"/>
              <a:gd name="connsiteX1" fmla="*/ 2031600 w 12192000"/>
              <a:gd name="connsiteY1" fmla="*/ 0 h 6858000"/>
              <a:gd name="connsiteX2" fmla="*/ 2031600 w 12192000"/>
              <a:gd name="connsiteY2" fmla="*/ 304623 h 6858000"/>
              <a:gd name="connsiteX3" fmla="*/ 2031600 w 12192000"/>
              <a:gd name="connsiteY3" fmla="*/ 425819 h 6858000"/>
              <a:gd name="connsiteX4" fmla="*/ 2031600 w 12192000"/>
              <a:gd name="connsiteY4" fmla="*/ 4660586 h 6858000"/>
              <a:gd name="connsiteX5" fmla="*/ 10160400 w 12192000"/>
              <a:gd name="connsiteY5" fmla="*/ 4660586 h 6858000"/>
              <a:gd name="connsiteX6" fmla="*/ 10160400 w 12192000"/>
              <a:gd name="connsiteY6" fmla="*/ 425819 h 6858000"/>
              <a:gd name="connsiteX7" fmla="*/ 10160400 w 12192000"/>
              <a:gd name="connsiteY7" fmla="*/ 304623 h 6858000"/>
              <a:gd name="connsiteX8" fmla="*/ 1016040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2031600" y="0"/>
                </a:lnTo>
                <a:lnTo>
                  <a:pt x="2031600" y="304623"/>
                </a:lnTo>
                <a:lnTo>
                  <a:pt x="2031600" y="425819"/>
                </a:lnTo>
                <a:lnTo>
                  <a:pt x="2031600" y="4660586"/>
                </a:lnTo>
                <a:lnTo>
                  <a:pt x="10160400" y="4660586"/>
                </a:lnTo>
                <a:lnTo>
                  <a:pt x="10160400" y="425819"/>
                </a:lnTo>
                <a:lnTo>
                  <a:pt x="10160400" y="304623"/>
                </a:lnTo>
                <a:lnTo>
                  <a:pt x="10160400" y="0"/>
                </a:lnTo>
                <a:lnTo>
                  <a:pt x="12192000" y="0"/>
                </a:lnTo>
                <a:lnTo>
                  <a:pt x="12192000" y="6858000"/>
                </a:lnTo>
                <a:lnTo>
                  <a:pt x="0" y="6858000"/>
                </a:lnTo>
                <a:close/>
              </a:path>
            </a:pathLst>
          </a:custGeom>
          <a:solidFill>
            <a:schemeClr val="bg1">
              <a:lumMod val="85000"/>
            </a:schemeClr>
          </a:solidFill>
        </p:spPr>
        <p:txBody>
          <a:bodyPr wrap="square">
            <a:noAutofit/>
          </a:bodyPr>
          <a:lstStyle>
            <a:lvl1pPr marL="0" indent="0" algn="ctr">
              <a:buNone/>
              <a:defRPr>
                <a:solidFill>
                  <a:schemeClr val="bg1">
                    <a:lumMod val="85000"/>
                  </a:schemeClr>
                </a:solidFill>
              </a:defRPr>
            </a:lvl1pPr>
          </a:lstStyle>
          <a:p>
            <a:endParaRPr lang="en-US" dirty="0"/>
          </a:p>
        </p:txBody>
      </p:sp>
      <p:sp>
        <p:nvSpPr>
          <p:cNvPr id="13" name="Text Placeholder 32">
            <a:extLst>
              <a:ext uri="{FF2B5EF4-FFF2-40B4-BE49-F238E27FC236}">
                <a16:creationId xmlns:a16="http://schemas.microsoft.com/office/drawing/2014/main" id="{3F020C69-ED5E-F94A-97D2-8608828E755F}"/>
              </a:ext>
            </a:extLst>
          </p:cNvPr>
          <p:cNvSpPr>
            <a:spLocks noGrp="1"/>
          </p:cNvSpPr>
          <p:nvPr>
            <p:ph type="body" sz="quarter" idx="30" hasCustomPrompt="1"/>
          </p:nvPr>
        </p:nvSpPr>
        <p:spPr>
          <a:xfrm>
            <a:off x="2363461" y="676344"/>
            <a:ext cx="7465079" cy="723352"/>
          </a:xfrm>
        </p:spPr>
        <p:txBody>
          <a:bodyPr>
            <a:noAutofit/>
          </a:bodyPr>
          <a:lstStyle>
            <a:lvl1pPr marL="0" indent="0" algn="ctr">
              <a:buNone/>
              <a:defRPr sz="3600" b="1" i="0">
                <a:solidFill>
                  <a:srgbClr val="2094D2"/>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YOUR HEADING</a:t>
            </a:r>
            <a:endParaRPr lang="en-US" dirty="0"/>
          </a:p>
        </p:txBody>
      </p:sp>
      <p:sp>
        <p:nvSpPr>
          <p:cNvPr id="14" name="Text Placeholder 32">
            <a:extLst>
              <a:ext uri="{FF2B5EF4-FFF2-40B4-BE49-F238E27FC236}">
                <a16:creationId xmlns:a16="http://schemas.microsoft.com/office/drawing/2014/main" id="{507FF297-8125-B740-A6B3-F1766B3775B1}"/>
              </a:ext>
            </a:extLst>
          </p:cNvPr>
          <p:cNvSpPr>
            <a:spLocks noGrp="1"/>
          </p:cNvSpPr>
          <p:nvPr>
            <p:ph type="body" sz="quarter" idx="48" hasCustomPrompt="1"/>
          </p:nvPr>
        </p:nvSpPr>
        <p:spPr>
          <a:xfrm>
            <a:off x="2363461" y="1694964"/>
            <a:ext cx="7465079" cy="2654613"/>
          </a:xfrm>
        </p:spPr>
        <p:txBody>
          <a:bodyPr numCol="1" spcCol="288000" anchor="t">
            <a:noAutofit/>
          </a:bodyPr>
          <a:lstStyle>
            <a:lvl1pPr marL="0" indent="0" algn="ctr">
              <a:lnSpc>
                <a:spcPct val="100000"/>
              </a:lnSpc>
              <a:spcBef>
                <a:spcPts val="0"/>
              </a:spcBef>
              <a:buNone/>
              <a:defRPr sz="2400" b="0" i="0">
                <a:solidFill>
                  <a:srgbClr val="11496E"/>
                </a:solidFill>
                <a:latin typeface="Calibri" panose="020F0502020204030204" pitchFamily="34" charset="0"/>
                <a:ea typeface="Open Sans" panose="020B0606030504020204" pitchFamily="34" charset="0"/>
                <a:cs typeface="Calibri" panose="020F0502020204030204" pitchFamily="34" charset="0"/>
              </a:defRPr>
            </a:lvl1pPr>
            <a:lvl2pPr marL="609593" indent="0">
              <a:buNone/>
              <a:defRPr sz="5161">
                <a:solidFill>
                  <a:srgbClr val="011E3B"/>
                </a:solidFill>
                <a:latin typeface="Montserrat" pitchFamily="2" charset="77"/>
              </a:defRPr>
            </a:lvl2pPr>
            <a:lvl3pPr marL="1219185" indent="0">
              <a:buNone/>
              <a:defRPr sz="5161">
                <a:solidFill>
                  <a:srgbClr val="011E3B"/>
                </a:solidFill>
                <a:latin typeface="Montserrat" pitchFamily="2" charset="77"/>
              </a:defRPr>
            </a:lvl3pPr>
            <a:lvl4pPr marL="1828778" indent="0">
              <a:buNone/>
              <a:defRPr sz="5161">
                <a:solidFill>
                  <a:srgbClr val="011E3B"/>
                </a:solidFill>
                <a:latin typeface="Montserrat" pitchFamily="2" charset="77"/>
              </a:defRPr>
            </a:lvl4pPr>
            <a:lvl5pPr marL="2438374" indent="0">
              <a:buNone/>
              <a:defRPr sz="5161">
                <a:solidFill>
                  <a:srgbClr val="011E3B"/>
                </a:solidFill>
                <a:latin typeface="Montserrat" pitchFamily="2" charset="77"/>
              </a:defRPr>
            </a:lvl5pPr>
          </a:lstStyle>
          <a:p>
            <a:pPr lvl="0"/>
            <a:r>
              <a:rPr lang="en-GB" dirty="0"/>
              <a:t>Click to type</a:t>
            </a:r>
            <a:endParaRPr lang="en-US" dirty="0"/>
          </a:p>
        </p:txBody>
      </p:sp>
      <p:sp>
        <p:nvSpPr>
          <p:cNvPr id="12" name="Freeform 11">
            <a:extLst>
              <a:ext uri="{FF2B5EF4-FFF2-40B4-BE49-F238E27FC236}">
                <a16:creationId xmlns:a16="http://schemas.microsoft.com/office/drawing/2014/main" id="{876A0E4F-42D6-3BCC-D4C8-6C9C25EF98D8}"/>
              </a:ext>
            </a:extLst>
          </p:cNvPr>
          <p:cNvSpPr/>
          <p:nvPr userDrawn="1"/>
        </p:nvSpPr>
        <p:spPr>
          <a:xfrm rot="5400000">
            <a:off x="5898016" y="-3867945"/>
            <a:ext cx="395965" cy="8128801"/>
          </a:xfrm>
          <a:custGeom>
            <a:avLst/>
            <a:gdLst>
              <a:gd name="connsiteX0" fmla="*/ 0 w 7840799"/>
              <a:gd name="connsiteY0" fmla="*/ 0 h 4036632"/>
              <a:gd name="connsiteX1" fmla="*/ 7840799 w 7840799"/>
              <a:gd name="connsiteY1" fmla="*/ 0 h 4036632"/>
              <a:gd name="connsiteX2" fmla="*/ 7840799 w 7840799"/>
              <a:gd name="connsiteY2" fmla="*/ 4036633 h 4036632"/>
              <a:gd name="connsiteX3" fmla="*/ 0 w 7840799"/>
              <a:gd name="connsiteY3" fmla="*/ 4036633 h 4036632"/>
            </a:gdLst>
            <a:ahLst/>
            <a:cxnLst>
              <a:cxn ang="0">
                <a:pos x="connsiteX0" y="connsiteY0"/>
              </a:cxn>
              <a:cxn ang="0">
                <a:pos x="connsiteX1" y="connsiteY1"/>
              </a:cxn>
              <a:cxn ang="0">
                <a:pos x="connsiteX2" y="connsiteY2"/>
              </a:cxn>
              <a:cxn ang="0">
                <a:pos x="connsiteX3" y="connsiteY3"/>
              </a:cxn>
            </a:cxnLst>
            <a:rect l="l" t="t" r="r" b="b"/>
            <a:pathLst>
              <a:path w="7840799" h="4036632">
                <a:moveTo>
                  <a:pt x="0" y="0"/>
                </a:moveTo>
                <a:lnTo>
                  <a:pt x="7840799" y="0"/>
                </a:lnTo>
                <a:lnTo>
                  <a:pt x="7840799" y="4036633"/>
                </a:lnTo>
                <a:lnTo>
                  <a:pt x="0" y="4036633"/>
                </a:lnTo>
                <a:close/>
              </a:path>
            </a:pathLst>
          </a:custGeom>
          <a:solidFill>
            <a:srgbClr val="11496E"/>
          </a:solidFill>
          <a:ln w="28891" cap="flat">
            <a:noFill/>
            <a:prstDash val="solid"/>
            <a:miter/>
          </a:ln>
        </p:spPr>
        <p:txBody>
          <a:bodyPr rtlCol="0" anchor="ctr"/>
          <a:lstStyle/>
          <a:p>
            <a:endParaRPr lang="en-US"/>
          </a:p>
        </p:txBody>
      </p:sp>
    </p:spTree>
    <p:extLst>
      <p:ext uri="{BB962C8B-B14F-4D97-AF65-F5344CB8AC3E}">
        <p14:creationId xmlns:p14="http://schemas.microsoft.com/office/powerpoint/2010/main" val="1499737173"/>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48A1CCA-D69E-ACD9-38F0-C4D62296E7BB}"/>
              </a:ext>
            </a:extLst>
          </p:cNvPr>
          <p:cNvGraphicFramePr>
            <a:graphicFrameLocks noChangeAspect="1"/>
          </p:cNvGraphicFramePr>
          <p:nvPr userDrawn="1">
            <p:custDataLst>
              <p:tags r:id="rId19"/>
            </p:custDataLst>
            <p:extLst>
              <p:ext uri="{D42A27DB-BD31-4B8C-83A1-F6EECF244321}">
                <p14:modId xmlns:p14="http://schemas.microsoft.com/office/powerpoint/2010/main" val="3316775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0" imgW="538" imgH="540" progId="TCLayout.ActiveDocument.1">
                  <p:embed/>
                </p:oleObj>
              </mc:Choice>
              <mc:Fallback>
                <p:oleObj name="think-cell Folie" r:id="rId20" imgW="538" imgH="540"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2" y="365128"/>
            <a:ext cx="10515600" cy="1325563"/>
          </a:xfrm>
          <a:prstGeom prst="rect">
            <a:avLst/>
          </a:prstGeom>
        </p:spPr>
        <p:txBody>
          <a:bodyPr vert="horz" lIns="91440" tIns="45720" rIns="91440" bIns="45720" rtlCol="0" anchor="ctr">
            <a:normAutofit/>
          </a:bodyPr>
          <a:lstStyle/>
          <a:p>
            <a:r>
              <a:rPr lang="en-US" dirty="0"/>
              <a:t>Klicken Sie hier, um den Master-Titelstil zu bearbeiten</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rmAutofit/>
          </a:bodyPr>
          <a:lstStyle/>
          <a:p>
            <a:pPr lvl="0"/>
            <a:r>
              <a:rPr lang="en-US" dirty="0"/>
              <a:t>Klicken Sie auf , um Mastertextstile zu bearbeiten</a:t>
            </a:r>
          </a:p>
          <a:p>
            <a:pPr lvl="1"/>
            <a:r>
              <a:rPr lang="en-US" dirty="0"/>
              <a:t>Zweite Ebene</a:t>
            </a:r>
          </a:p>
          <a:p>
            <a:pPr lvl="2"/>
            <a:r>
              <a:rPr lang="en-US" dirty="0"/>
              <a:t>Dritte Ebene</a:t>
            </a:r>
          </a:p>
          <a:p>
            <a:pPr lvl="3"/>
            <a:r>
              <a:rPr lang="en-US" dirty="0"/>
              <a:t>Vierte Ebene</a:t>
            </a:r>
          </a:p>
          <a:p>
            <a:pPr lvl="4"/>
            <a:r>
              <a:rPr lang="en-US" dirty="0"/>
              <a:t>Fünfte Ebene</a:t>
            </a:r>
          </a:p>
        </p:txBody>
      </p:sp>
      <p:sp>
        <p:nvSpPr>
          <p:cNvPr id="54" name="Rectangle 53">
            <a:extLst>
              <a:ext uri="{FF2B5EF4-FFF2-40B4-BE49-F238E27FC236}">
                <a16:creationId xmlns:a16="http://schemas.microsoft.com/office/drawing/2014/main" id="{57D94F2C-9C87-2497-E07B-9D9B7EA0E840}"/>
              </a:ext>
            </a:extLst>
          </p:cNvPr>
          <p:cNvSpPr/>
          <p:nvPr userDrawn="1"/>
        </p:nvSpPr>
        <p:spPr>
          <a:xfrm rot="16200000">
            <a:off x="9888467" y="4506185"/>
            <a:ext cx="3778250" cy="184666"/>
          </a:xfrm>
          <a:prstGeom prst="rect">
            <a:avLst/>
          </a:prstGeom>
        </p:spPr>
        <p:txBody>
          <a:bodyPr>
            <a:spAutoFit/>
          </a:bodyPr>
          <a:lstStyle/>
          <a:p>
            <a:pPr algn="l"/>
            <a:r>
              <a:rPr lang="en-US" sz="600" kern="900" spc="230" baseline="0" dirty="0">
                <a:solidFill>
                  <a:srgbClr val="11496E"/>
                </a:solidFill>
                <a:latin typeface="Calibri" panose="020F0502020204030204" pitchFamily="34" charset="0"/>
                <a:cs typeface="Calibri" panose="020F0502020204030204" pitchFamily="34" charset="0"/>
              </a:rPr>
              <a:t>Ethische und grüne Bildung für junges Unternehmertum</a:t>
            </a:r>
          </a:p>
        </p:txBody>
      </p:sp>
    </p:spTree>
    <p:extLst>
      <p:ext uri="{BB962C8B-B14F-4D97-AF65-F5344CB8AC3E}">
        <p14:creationId xmlns:p14="http://schemas.microsoft.com/office/powerpoint/2010/main" val="430657063"/>
      </p:ext>
    </p:extLst>
  </p:cSld>
  <p:clrMap bg1="lt1" tx1="dk1" bg2="lt2" tx2="dk2" accent1="accent1" accent2="accent2" accent3="accent3" accent4="accent4" accent5="accent5" accent6="accent6" hlink="hlink" folHlink="folHlink"/>
  <p:sldLayoutIdLst>
    <p:sldLayoutId id="2147483736" r:id="rId1"/>
    <p:sldLayoutId id="2147483694" r:id="rId2"/>
    <p:sldLayoutId id="2147483683" r:id="rId3"/>
    <p:sldLayoutId id="2147483697" r:id="rId4"/>
    <p:sldLayoutId id="2147483740" r:id="rId5"/>
    <p:sldLayoutId id="2147483703" r:id="rId6"/>
    <p:sldLayoutId id="2147483700" r:id="rId7"/>
    <p:sldLayoutId id="2147483723" r:id="rId8"/>
    <p:sldLayoutId id="2147483698" r:id="rId9"/>
    <p:sldLayoutId id="2147483695" r:id="rId10"/>
    <p:sldLayoutId id="2147483735" r:id="rId11"/>
    <p:sldLayoutId id="2147483734" r:id="rId12"/>
    <p:sldLayoutId id="2147483739" r:id="rId13"/>
    <p:sldLayoutId id="2147483708" r:id="rId14"/>
    <p:sldLayoutId id="2147483733" r:id="rId15"/>
    <p:sldLayoutId id="2147483737" r:id="rId16"/>
    <p:sldLayoutId id="2147483702" r:id="rId17"/>
  </p:sldLayoutIdLst>
  <p:hf hdr="0"/>
  <p:txStyles>
    <p:titleStyle>
      <a:lvl1pPr algn="l" defTabSz="3343281" rtl="0" eaLnBrk="1" latinLnBrk="0" hangingPunct="1">
        <a:lnSpc>
          <a:spcPct val="90000"/>
        </a:lnSpc>
        <a:spcBef>
          <a:spcPct val="0"/>
        </a:spcBef>
        <a:buNone/>
        <a:defRPr sz="3870" kern="1200">
          <a:solidFill>
            <a:srgbClr val="011E3B"/>
          </a:solidFill>
          <a:latin typeface="Calibri" panose="020F0502020204030204" pitchFamily="34" charset="0"/>
          <a:ea typeface="+mj-ea"/>
          <a:cs typeface="Calibri" panose="020F0502020204030204" pitchFamily="34" charset="0"/>
        </a:defRPr>
      </a:lvl1pPr>
    </p:titleStyle>
    <p:bodyStyle>
      <a:lvl1pPr marL="835822" indent="-835822" algn="l" defTabSz="3343281" rtl="0" eaLnBrk="1" latinLnBrk="0" hangingPunct="1">
        <a:lnSpc>
          <a:spcPct val="100000"/>
        </a:lnSpc>
        <a:spcBef>
          <a:spcPts val="3657"/>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1pPr>
      <a:lvl2pPr marL="2507462"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2pPr>
      <a:lvl3pPr marL="4179101"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3pPr>
      <a:lvl4pPr marL="5850740"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4pPr>
      <a:lvl5pPr marL="7522384" indent="-835822" algn="l" defTabSz="3343281" rtl="0" eaLnBrk="1" latinLnBrk="0" hangingPunct="1">
        <a:lnSpc>
          <a:spcPct val="100000"/>
        </a:lnSpc>
        <a:spcBef>
          <a:spcPts val="1828"/>
        </a:spcBef>
        <a:buFont typeface="Arial" panose="020B0604020202020204" pitchFamily="34" charset="0"/>
        <a:buChar char="•"/>
        <a:defRPr sz="3870" kern="1200">
          <a:solidFill>
            <a:srgbClr val="011E3B"/>
          </a:solidFill>
          <a:latin typeface="Calibri" panose="020F0502020204030204" pitchFamily="34" charset="0"/>
          <a:ea typeface="+mn-ea"/>
          <a:cs typeface="Calibri" panose="020F0502020204030204" pitchFamily="34" charset="0"/>
        </a:defRPr>
      </a:lvl5pPr>
      <a:lvl6pPr marL="9194022"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6pPr>
      <a:lvl7pPr marL="10865665"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7pPr>
      <a:lvl8pPr marL="12537303"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8pPr>
      <a:lvl9pPr marL="14208947" indent="-835822" algn="l" defTabSz="3343281" rtl="0" eaLnBrk="1" latinLnBrk="0" hangingPunct="1">
        <a:lnSpc>
          <a:spcPct val="90000"/>
        </a:lnSpc>
        <a:spcBef>
          <a:spcPts val="1828"/>
        </a:spcBef>
        <a:buFont typeface="Arial" panose="020B0604020202020204" pitchFamily="34" charset="0"/>
        <a:buChar char="•"/>
        <a:defRPr sz="6580" kern="1200">
          <a:solidFill>
            <a:schemeClr val="tx1"/>
          </a:solidFill>
          <a:latin typeface="+mn-lt"/>
          <a:ea typeface="+mn-ea"/>
          <a:cs typeface="+mn-cs"/>
        </a:defRPr>
      </a:lvl9pPr>
    </p:bodyStyle>
    <p:otherStyle>
      <a:defPPr>
        <a:defRPr lang="en-US"/>
      </a:defPPr>
      <a:lvl1pPr marL="0" algn="l" defTabSz="3343281" rtl="0" eaLnBrk="1" latinLnBrk="0" hangingPunct="1">
        <a:defRPr sz="6580" kern="1200">
          <a:solidFill>
            <a:schemeClr val="tx1"/>
          </a:solidFill>
          <a:latin typeface="+mn-lt"/>
          <a:ea typeface="+mn-ea"/>
          <a:cs typeface="+mn-cs"/>
        </a:defRPr>
      </a:lvl1pPr>
      <a:lvl2pPr marL="1671639" algn="l" defTabSz="3343281" rtl="0" eaLnBrk="1" latinLnBrk="0" hangingPunct="1">
        <a:defRPr sz="6580" kern="1200">
          <a:solidFill>
            <a:schemeClr val="tx1"/>
          </a:solidFill>
          <a:latin typeface="+mn-lt"/>
          <a:ea typeface="+mn-ea"/>
          <a:cs typeface="+mn-cs"/>
        </a:defRPr>
      </a:lvl2pPr>
      <a:lvl3pPr marL="3343281" algn="l" defTabSz="3343281" rtl="0" eaLnBrk="1" latinLnBrk="0" hangingPunct="1">
        <a:defRPr sz="6580" kern="1200">
          <a:solidFill>
            <a:schemeClr val="tx1"/>
          </a:solidFill>
          <a:latin typeface="+mn-lt"/>
          <a:ea typeface="+mn-ea"/>
          <a:cs typeface="+mn-cs"/>
        </a:defRPr>
      </a:lvl3pPr>
      <a:lvl4pPr marL="5014923" algn="l" defTabSz="3343281" rtl="0" eaLnBrk="1" latinLnBrk="0" hangingPunct="1">
        <a:defRPr sz="6580" kern="1200">
          <a:solidFill>
            <a:schemeClr val="tx1"/>
          </a:solidFill>
          <a:latin typeface="+mn-lt"/>
          <a:ea typeface="+mn-ea"/>
          <a:cs typeface="+mn-cs"/>
        </a:defRPr>
      </a:lvl4pPr>
      <a:lvl5pPr marL="6686564" algn="l" defTabSz="3343281" rtl="0" eaLnBrk="1" latinLnBrk="0" hangingPunct="1">
        <a:defRPr sz="6580" kern="1200">
          <a:solidFill>
            <a:schemeClr val="tx1"/>
          </a:solidFill>
          <a:latin typeface="+mn-lt"/>
          <a:ea typeface="+mn-ea"/>
          <a:cs typeface="+mn-cs"/>
        </a:defRPr>
      </a:lvl5pPr>
      <a:lvl6pPr marL="8358202" algn="l" defTabSz="3343281" rtl="0" eaLnBrk="1" latinLnBrk="0" hangingPunct="1">
        <a:defRPr sz="6580" kern="1200">
          <a:solidFill>
            <a:schemeClr val="tx1"/>
          </a:solidFill>
          <a:latin typeface="+mn-lt"/>
          <a:ea typeface="+mn-ea"/>
          <a:cs typeface="+mn-cs"/>
        </a:defRPr>
      </a:lvl6pPr>
      <a:lvl7pPr marL="10029841" algn="l" defTabSz="3343281" rtl="0" eaLnBrk="1" latinLnBrk="0" hangingPunct="1">
        <a:defRPr sz="6580" kern="1200">
          <a:solidFill>
            <a:schemeClr val="tx1"/>
          </a:solidFill>
          <a:latin typeface="+mn-lt"/>
          <a:ea typeface="+mn-ea"/>
          <a:cs typeface="+mn-cs"/>
        </a:defRPr>
      </a:lvl7pPr>
      <a:lvl8pPr marL="11701485" algn="l" defTabSz="3343281" rtl="0" eaLnBrk="1" latinLnBrk="0" hangingPunct="1">
        <a:defRPr sz="6580" kern="1200">
          <a:solidFill>
            <a:schemeClr val="tx1"/>
          </a:solidFill>
          <a:latin typeface="+mn-lt"/>
          <a:ea typeface="+mn-ea"/>
          <a:cs typeface="+mn-cs"/>
        </a:defRPr>
      </a:lvl8pPr>
      <a:lvl9pPr marL="13373124" algn="l" defTabSz="3343281" rtl="0" eaLnBrk="1" latinLnBrk="0" hangingPunct="1">
        <a:defRPr sz="658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ogle.com/forms/about/" TargetMode="External"/><Relationship Id="rId2" Type="http://schemas.openxmlformats.org/officeDocument/2006/relationships/hyperlink" Target="https://www.surveymonkey.com/?ut_source=mp&amp;ut_source2=sign-in&amp;ut_source3=header" TargetMode="Externa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hyperlink" Target="https://www.trendwatching.com/"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21.jpeg"/><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hyperlink" Target="https://sdgs.un.org/goals/goal13" TargetMode="External"/><Relationship Id="rId2" Type="http://schemas.openxmlformats.org/officeDocument/2006/relationships/hyperlink" Target="https://sdgs.un.org/goals/goal12" TargetMode="External"/><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hyperlink" Target="https://www.researchgate.net/publication/355041926_Opportunities_and_Challenges_of_Sustainable_Marketing_Practices_in_Emerging_Markets" TargetMode="External"/><Relationship Id="rId3" Type="http://schemas.openxmlformats.org/officeDocument/2006/relationships/notesSlide" Target="../notesSlides/notesSlide5.xml"/><Relationship Id="rId7" Type="http://schemas.openxmlformats.org/officeDocument/2006/relationships/hyperlink" Target="https://www.linkedin.com/pulse/importance-conducting-market-analysis-before-company-hearn-ed-d/" TargetMode="Externa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hyperlink" Target="https://www.trendwatching.com/" TargetMode="Externa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25.jpeg"/><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hyperlink" Target="https://www.instagram.com/" TargetMode="External"/><Relationship Id="rId7" Type="http://schemas.openxmlformats.org/officeDocument/2006/relationships/image" Target="../media/image27.jpeg"/><Relationship Id="rId2" Type="http://schemas.openxmlformats.org/officeDocument/2006/relationships/hyperlink" Target="https://www.facebook.com/" TargetMode="External"/><Relationship Id="rId1" Type="http://schemas.openxmlformats.org/officeDocument/2006/relationships/slideLayout" Target="../slideLayouts/slideLayout8.xml"/><Relationship Id="rId6" Type="http://schemas.openxmlformats.org/officeDocument/2006/relationships/hyperlink" Target="https://mailchimp.com/" TargetMode="External"/><Relationship Id="rId5" Type="http://schemas.openxmlformats.org/officeDocument/2006/relationships/hyperlink" Target="https://business.facebook.com/business/loginpage/?next=https%3A%2F%2Fbusiness.facebook.com%2F%3Fnav_ref%3Dbiz_unified_f3_login_page_to_mbs&amp;login_options%5B0%5D=FB&amp;login_options%5B1%5D=IG&amp;login_options%5B2%5D=SSO&amp;config_ref=biz_login_tool_flavor_mbs" TargetMode="External"/><Relationship Id="rId4" Type="http://schemas.openxmlformats.org/officeDocument/2006/relationships/hyperlink" Target="https://x.com/"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28.jpe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hyperlink" Target="https://buffer.com/" TargetMode="External"/><Relationship Id="rId3" Type="http://schemas.openxmlformats.org/officeDocument/2006/relationships/notesSlide" Target="../notesSlides/notesSlide7.xml"/><Relationship Id="rId7" Type="http://schemas.openxmlformats.org/officeDocument/2006/relationships/hyperlink" Target="https://www.hootsuite.com/" TargetMode="External"/><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hyperlink" Target="https://www.biasol.ie/" TargetMode="External"/><Relationship Id="rId5" Type="http://schemas.openxmlformats.org/officeDocument/2006/relationships/image" Target="../media/image30.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www.biasol.ie/" TargetMode="External"/><Relationship Id="rId1" Type="http://schemas.openxmlformats.org/officeDocument/2006/relationships/slideLayout" Target="../slideLayouts/slideLayout8.xml"/><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21.jpeg"/><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4" TargetMode="External"/><Relationship Id="rId1" Type="http://schemas.openxmlformats.org/officeDocument/2006/relationships/slideLayout" Target="../slideLayouts/slideLayout15.xml"/><Relationship Id="rId5" Type="http://schemas.openxmlformats.org/officeDocument/2006/relationships/image" Target="../media/image34.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oleObject" Target="../embeddings/oleObject12.bin"/><Relationship Id="rId7" Type="http://schemas.openxmlformats.org/officeDocument/2006/relationships/hyperlink" Target="https://www.sciencedirect.com/science/article/abs/pii/S0160791X24000988" TargetMode="Externa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hyperlink" Target="https://bejamas.io/blog/sustainable-digital-marketing-strategies" TargetMode="External"/><Relationship Id="rId5" Type="http://schemas.openxmlformats.org/officeDocument/2006/relationships/hyperlink" Target="https://www.mightybytes.com/blog/sustainable-digital-marketing/" TargetMode="Externa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6.xml"/><Relationship Id="rId1" Type="http://schemas.openxmlformats.org/officeDocument/2006/relationships/tags" Target="../tags/tag13.xml"/><Relationship Id="rId5" Type="http://schemas.openxmlformats.org/officeDocument/2006/relationships/image" Target="../media/image35.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36.jpe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hyperlink" Target="https://www.squarespace.com/" TargetMode="External"/><Relationship Id="rId3" Type="http://schemas.openxmlformats.org/officeDocument/2006/relationships/oleObject" Target="../embeddings/oleObject15.bin"/><Relationship Id="rId7" Type="http://schemas.openxmlformats.org/officeDocument/2006/relationships/hyperlink" Target="https://www.wix.com/" TargetMode="Externa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hyperlink" Target="https://wordpress.org/" TargetMode="External"/><Relationship Id="rId5" Type="http://schemas.openxmlformats.org/officeDocument/2006/relationships/image" Target="../media/image37.jpeg"/><Relationship Id="rId4" Type="http://schemas.openxmlformats.org/officeDocument/2006/relationships/image" Target="../media/image1.emf"/><Relationship Id="rId9" Type="http://schemas.openxmlformats.org/officeDocument/2006/relationships/hyperlink" Target="https://www.shopify.com/ie" TargetMode="Externa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hyperlink" Target="https://www.adobe.com/express/" TargetMode="External"/><Relationship Id="rId2" Type="http://schemas.openxmlformats.org/officeDocument/2006/relationships/slideLayout" Target="../slideLayouts/slideLayout8.xml"/><Relationship Id="rId1" Type="http://schemas.openxmlformats.org/officeDocument/2006/relationships/tags" Target="../tags/tag16.xml"/><Relationship Id="rId6" Type="http://schemas.openxmlformats.org/officeDocument/2006/relationships/hyperlink" Target="https://www.canva.com/" TargetMode="External"/><Relationship Id="rId5" Type="http://schemas.openxmlformats.org/officeDocument/2006/relationships/image" Target="../media/image38.jpeg"/><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xml"/><Relationship Id="rId1" Type="http://schemas.openxmlformats.org/officeDocument/2006/relationships/tags" Target="../tags/tag17.xml"/><Relationship Id="rId5" Type="http://schemas.openxmlformats.org/officeDocument/2006/relationships/image" Target="../media/image39.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10.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41.jpe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40.jpeg"/><Relationship Id="rId5" Type="http://schemas.openxmlformats.org/officeDocument/2006/relationships/hyperlink" Target="https://www.allaboutkombucha.ie/" TargetMode="Externa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hyperlink" Target="https://fairpreneurs.eu/fairpreneurs-case-study-compendium-curriculum/" TargetMode="External"/><Relationship Id="rId2" Type="http://schemas.openxmlformats.org/officeDocument/2006/relationships/hyperlink" Target="https://www.allaboutkombucha.ie/" TargetMode="External"/><Relationship Id="rId1" Type="http://schemas.openxmlformats.org/officeDocument/2006/relationships/slideLayout" Target="../slideLayouts/slideLayout8.xml"/><Relationship Id="rId4" Type="http://schemas.openxmlformats.org/officeDocument/2006/relationships/image" Target="../media/image42.jpe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5.xml"/><Relationship Id="rId1" Type="http://schemas.openxmlformats.org/officeDocument/2006/relationships/tags" Target="../tags/tag19.xml"/><Relationship Id="rId5" Type="http://schemas.openxmlformats.org/officeDocument/2006/relationships/image" Target="../media/image21.jpe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hyperlink" Target="https://sdgs.un.org/goals/goal11" TargetMode="External"/><Relationship Id="rId2" Type="http://schemas.openxmlformats.org/officeDocument/2006/relationships/hyperlink" Target="https://sdgs.un.org/goals/goal9" TargetMode="External"/><Relationship Id="rId1" Type="http://schemas.openxmlformats.org/officeDocument/2006/relationships/slideLayout" Target="../slideLayouts/slideLayout15.xml"/><Relationship Id="rId5" Type="http://schemas.openxmlformats.org/officeDocument/2006/relationships/image" Target="../media/image33.png"/><Relationship Id="rId4" Type="http://schemas.openxmlformats.org/officeDocument/2006/relationships/hyperlink" Target="https://sdgs.un.org/goals/goal12"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sdgs.un.org/goals/goal17" TargetMode="External"/><Relationship Id="rId2" Type="http://schemas.openxmlformats.org/officeDocument/2006/relationships/hyperlink" Target="https://sdgs.un.org/goals/goal13" TargetMode="Externa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24.jp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hyperlink" Target="https://keyhole.co/blog/sustainability-in-social-media-marketing/" TargetMode="External"/><Relationship Id="rId5" Type="http://schemas.openxmlformats.org/officeDocument/2006/relationships/hyperlink" Target="https://www.linkedin.com/pulse/impact-online-presence-business-growth-digiduzz/" TargetMode="Externa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1.bin"/><Relationship Id="rId7" Type="http://schemas.openxmlformats.org/officeDocument/2006/relationships/image" Target="../media/image46.jpeg"/><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51.jpeg"/><Relationship Id="rId4" Type="http://schemas.openxmlformats.org/officeDocument/2006/relationships/image" Target="../media/image50.jpeg"/></Relationships>
</file>

<file path=ppt/slides/_rels/slide41.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hyperlink" Target="https://sdgs.un.org/goals/goal12" TargetMode="External"/><Relationship Id="rId2" Type="http://schemas.openxmlformats.org/officeDocument/2006/relationships/hyperlink" Target="https://sdgs.un.org/goals/goal4" TargetMode="External"/><Relationship Id="rId1" Type="http://schemas.openxmlformats.org/officeDocument/2006/relationships/slideLayout" Target="../slideLayouts/slideLayout15.xml"/><Relationship Id="rId5" Type="http://schemas.openxmlformats.org/officeDocument/2006/relationships/image" Target="../media/image33.png"/><Relationship Id="rId4" Type="http://schemas.openxmlformats.org/officeDocument/2006/relationships/hyperlink" Target="https://sdgs.un.org/goals/goal13"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sdgs.un.org/goals/goal3" TargetMode="External"/><Relationship Id="rId2" Type="http://schemas.openxmlformats.org/officeDocument/2006/relationships/hyperlink" Target="https://sdgs.un.org/goals/goal16" TargetMode="Externa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hyperlink" Target="https://www.forbes.com/sites/theyec/2023/06/08/the-power-of-storytelling-for-your-business-unleashing-your-inner-storyteller/" TargetMode="External"/><Relationship Id="rId2" Type="http://schemas.openxmlformats.org/officeDocument/2006/relationships/image" Target="../media/image24.jpg"/><Relationship Id="rId1" Type="http://schemas.openxmlformats.org/officeDocument/2006/relationships/slideLayout" Target="../slideLayouts/slideLayout4.xml"/><Relationship Id="rId5" Type="http://schemas.openxmlformats.org/officeDocument/2006/relationships/hyperlink" Target="https://www.tandfonline.com/doi/full/10.1080/09640568.2023.2258276" TargetMode="External"/><Relationship Id="rId4" Type="http://schemas.openxmlformats.org/officeDocument/2006/relationships/hyperlink" Target="https://www.researchgate.net/publication/373238618_The_Power_of_Storytelling_in_Promoting_Sustainable_Consumption"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hyperlink" Target="https://www.globalreporting.org/"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58.jpeg"/></Relationships>
</file>

<file path=ppt/slides/_rels/slide5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hyperlink" Target="https://www.tableau.com/products/desktop"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image" Target="../media/image61.jpeg"/></Relationships>
</file>

<file path=ppt/slides/_rels/slide5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hyperlink" Target="https://sdgs.un.org/goals/goal3" TargetMode="External"/><Relationship Id="rId2" Type="http://schemas.openxmlformats.org/officeDocument/2006/relationships/hyperlink" Target="https://sdgs.un.org/goals/goal16" TargetMode="External"/><Relationship Id="rId1" Type="http://schemas.openxmlformats.org/officeDocument/2006/relationships/slideLayout" Target="../slideLayouts/slideLayout15.xml"/><Relationship Id="rId5" Type="http://schemas.openxmlformats.org/officeDocument/2006/relationships/image" Target="../media/image33.png"/><Relationship Id="rId4" Type="http://schemas.openxmlformats.org/officeDocument/2006/relationships/hyperlink" Target="https://sdgs.un.org/goals/goal12"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sdgs.un.org/goals/goal17" TargetMode="External"/><Relationship Id="rId2" Type="http://schemas.openxmlformats.org/officeDocument/2006/relationships/hyperlink" Target="https://sdgs.un.org/goals/goal8" TargetMode="External"/><Relationship Id="rId1" Type="http://schemas.openxmlformats.org/officeDocument/2006/relationships/slideLayout" Target="../slideLayouts/slideLayout15.xml"/><Relationship Id="rId4" Type="http://schemas.openxmlformats.org/officeDocument/2006/relationships/image" Target="../media/image33.png"/></Relationships>
</file>

<file path=ppt/slides/_rels/slide6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64.xml.rels><?xml version="1.0" encoding="UTF-8" standalone="yes"?>
<Relationships xmlns="http://schemas.openxmlformats.org/package/2006/relationships"><Relationship Id="rId3" Type="http://schemas.openxmlformats.org/officeDocument/2006/relationships/hyperlink" Target="https://www.globalreporting.org/how-to-use-the-gri-standards/get-started-with-reporting/" TargetMode="External"/><Relationship Id="rId2" Type="http://schemas.openxmlformats.org/officeDocument/2006/relationships/image" Target="../media/image24.jpg"/><Relationship Id="rId1" Type="http://schemas.openxmlformats.org/officeDocument/2006/relationships/slideLayout" Target="../slideLayouts/slideLayout4.xml"/><Relationship Id="rId4" Type="http://schemas.openxmlformats.org/officeDocument/2006/relationships/hyperlink" Target="https://earth.org/sustainability-reporting-in-the-era-of-esg-best-practices-and-emerging-trends/"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x.com/fairpreneurs" TargetMode="External"/><Relationship Id="rId7" Type="http://schemas.openxmlformats.org/officeDocument/2006/relationships/image" Target="../media/image64.sv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hyperlink" Target="https://fairpreneurs.eu/" TargetMode="External"/><Relationship Id="rId4" Type="http://schemas.openxmlformats.org/officeDocument/2006/relationships/hyperlink" Target="https://www.facebook.com/Fairpreneurs/"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21FA40D-CF6B-E047-B73E-EF37BCEF7A08}"/>
              </a:ext>
            </a:extLst>
          </p:cNvPr>
          <p:cNvSpPr>
            <a:spLocks noGrp="1"/>
          </p:cNvSpPr>
          <p:nvPr>
            <p:ph type="body" sz="quarter" idx="16"/>
          </p:nvPr>
        </p:nvSpPr>
        <p:spPr>
          <a:xfrm>
            <a:off x="596957" y="4242097"/>
            <a:ext cx="4318992" cy="1258512"/>
          </a:xfrm>
        </p:spPr>
        <p:txBody>
          <a:bodyPr>
            <a:normAutofit fontScale="85000" lnSpcReduction="10000"/>
          </a:bodyPr>
          <a:lstStyle/>
          <a:p>
            <a:pPr>
              <a:lnSpc>
                <a:spcPts val="3054"/>
              </a:lnSpc>
            </a:pPr>
            <a:r>
              <a:rPr lang="en-US" sz="2800" b="0" dirty="0"/>
              <a:t>Marktanalyse &amp; Digitales Marketing für nachhaltige Unternehmungen</a:t>
            </a:r>
            <a:endParaRPr lang="en-US" sz="2400" dirty="0"/>
          </a:p>
        </p:txBody>
      </p:sp>
      <p:sp>
        <p:nvSpPr>
          <p:cNvPr id="5" name="Text Placeholder 4">
            <a:extLst>
              <a:ext uri="{FF2B5EF4-FFF2-40B4-BE49-F238E27FC236}">
                <a16:creationId xmlns:a16="http://schemas.microsoft.com/office/drawing/2014/main" id="{B9EB3164-8431-CA66-1469-5F71234B178B}"/>
              </a:ext>
            </a:extLst>
          </p:cNvPr>
          <p:cNvSpPr>
            <a:spLocks noGrp="1"/>
          </p:cNvSpPr>
          <p:nvPr>
            <p:ph type="body" sz="quarter" idx="19"/>
          </p:nvPr>
        </p:nvSpPr>
        <p:spPr>
          <a:xfrm>
            <a:off x="596956" y="3429000"/>
            <a:ext cx="3311988" cy="533188"/>
          </a:xfrm>
        </p:spPr>
        <p:txBody>
          <a:bodyPr/>
          <a:lstStyle/>
          <a:p>
            <a:r>
              <a:rPr lang="en-US" sz="3600" b="1"/>
              <a:t>Modul 3</a:t>
            </a:r>
            <a:endParaRPr lang="en-US" sz="3600" b="1" dirty="0"/>
          </a:p>
        </p:txBody>
      </p:sp>
      <p:sp>
        <p:nvSpPr>
          <p:cNvPr id="8" name="Text Placeholder 7">
            <a:extLst>
              <a:ext uri="{FF2B5EF4-FFF2-40B4-BE49-F238E27FC236}">
                <a16:creationId xmlns:a16="http://schemas.microsoft.com/office/drawing/2014/main" id="{0E29F1A2-5681-F486-F1FC-116A3CB29DFE}"/>
              </a:ext>
            </a:extLst>
          </p:cNvPr>
          <p:cNvSpPr>
            <a:spLocks noGrp="1"/>
          </p:cNvSpPr>
          <p:nvPr>
            <p:ph type="body" sz="quarter" idx="45"/>
          </p:nvPr>
        </p:nvSpPr>
        <p:spPr/>
        <p:txBody>
          <a:bodyPr>
            <a:normAutofit/>
          </a:bodyPr>
          <a:lstStyle/>
          <a:p>
            <a:r>
              <a:rPr lang="en-US" b="1" dirty="0" err="1"/>
              <a:t>www.fairpreneurs.eu</a:t>
            </a:r>
            <a:endParaRPr lang="en-US" dirty="0"/>
          </a:p>
        </p:txBody>
      </p:sp>
      <p:sp>
        <p:nvSpPr>
          <p:cNvPr id="3" name="Slide Number Placeholder 2">
            <a:extLst>
              <a:ext uri="{FF2B5EF4-FFF2-40B4-BE49-F238E27FC236}">
                <a16:creationId xmlns:a16="http://schemas.microsoft.com/office/drawing/2014/main" id="{8B51DB12-F7FD-5442-9AD5-321562BAB22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1</a:t>
            </a:fld>
            <a:endParaRPr lang="en-US" dirty="0"/>
          </a:p>
        </p:txBody>
      </p:sp>
      <p:cxnSp>
        <p:nvCxnSpPr>
          <p:cNvPr id="24" name="Straight Connector 23">
            <a:extLst>
              <a:ext uri="{FF2B5EF4-FFF2-40B4-BE49-F238E27FC236}">
                <a16:creationId xmlns:a16="http://schemas.microsoft.com/office/drawing/2014/main" id="{2504AA71-D51D-6ED2-6D46-01B43E4D5C22}"/>
              </a:ext>
            </a:extLst>
          </p:cNvPr>
          <p:cNvCxnSpPr>
            <a:cxnSpLocks/>
          </p:cNvCxnSpPr>
          <p:nvPr/>
        </p:nvCxnSpPr>
        <p:spPr>
          <a:xfrm>
            <a:off x="0" y="4102142"/>
            <a:ext cx="3879155" cy="0"/>
          </a:xfrm>
          <a:prstGeom prst="line">
            <a:avLst/>
          </a:prstGeom>
          <a:ln w="28575">
            <a:solidFill>
              <a:srgbClr val="60BA47"/>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95A7CFA5-3EB9-A64C-4371-E63D23F39BB0}"/>
              </a:ext>
            </a:extLst>
          </p:cNvPr>
          <p:cNvGrpSpPr/>
          <p:nvPr/>
        </p:nvGrpSpPr>
        <p:grpSpPr>
          <a:xfrm rot="16200000">
            <a:off x="8470129" y="1512722"/>
            <a:ext cx="5074615" cy="2369127"/>
            <a:chOff x="-1871944" y="1778846"/>
            <a:chExt cx="1736764" cy="810823"/>
          </a:xfrm>
          <a:solidFill>
            <a:schemeClr val="bg1">
              <a:alpha val="56867"/>
            </a:schemeClr>
          </a:solidFill>
        </p:grpSpPr>
        <p:sp>
          <p:nvSpPr>
            <p:cNvPr id="10" name="Freeform 9">
              <a:extLst>
                <a:ext uri="{FF2B5EF4-FFF2-40B4-BE49-F238E27FC236}">
                  <a16:creationId xmlns:a16="http://schemas.microsoft.com/office/drawing/2014/main" id="{18E77BB1-01B6-C0A2-7EF3-78865D0C1E02}"/>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7065986-B5DB-C12F-C833-500370042D27}"/>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A703CD9-550C-574B-24B7-1A0A9A620204}"/>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840FA4E-4161-76C1-13E1-6C0DA4D7E15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A2CB2B3-2AF2-1580-AA48-5B234A4993E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8292ABE-DE10-1A82-E0D3-0CAB03998F78}"/>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
        <p:nvSpPr>
          <p:cNvPr id="2" name="TextBox 1">
            <a:extLst>
              <a:ext uri="{FF2B5EF4-FFF2-40B4-BE49-F238E27FC236}">
                <a16:creationId xmlns:a16="http://schemas.microsoft.com/office/drawing/2014/main" id="{912CBA52-9586-E192-0B65-E51B3A647D25}"/>
              </a:ext>
            </a:extLst>
          </p:cNvPr>
          <p:cNvSpPr txBox="1"/>
          <p:nvPr/>
        </p:nvSpPr>
        <p:spPr>
          <a:xfrm>
            <a:off x="252700" y="6509667"/>
            <a:ext cx="40005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dirty="0">
                <a:solidFill>
                  <a:srgbClr val="11496E"/>
                </a:solidFill>
                <a:latin typeface="Calibri" panose="020F0502020204030204" pitchFamily="34" charset="0"/>
                <a:ea typeface="Open Sans" panose="020B0606030504020204" pitchFamily="34" charset="0"/>
                <a:cs typeface="Calibri" panose="020F0502020204030204" pitchFamily="34" charset="0"/>
              </a:rPr>
              <a:t>Diese Studie ist unter der CC BY-NC-SA-Lizenz verfügbar.</a:t>
            </a:r>
          </a:p>
        </p:txBody>
      </p:sp>
      <p:sp>
        <p:nvSpPr>
          <p:cNvPr id="4" name="TextBox 3">
            <a:extLst>
              <a:ext uri="{FF2B5EF4-FFF2-40B4-BE49-F238E27FC236}">
                <a16:creationId xmlns:a16="http://schemas.microsoft.com/office/drawing/2014/main" id="{E06FAFE9-48A0-8B5B-199E-5701E7059D41}"/>
              </a:ext>
            </a:extLst>
          </p:cNvPr>
          <p:cNvSpPr txBox="1"/>
          <p:nvPr/>
        </p:nvSpPr>
        <p:spPr>
          <a:xfrm>
            <a:off x="2704665" y="5973501"/>
            <a:ext cx="2942108"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r>
              <a:rPr lang="en-GB" sz="700" dirty="0">
                <a:solidFill>
                  <a:srgbClr val="11496E"/>
                </a:solidFill>
                <a:latin typeface="Calibri" panose="020F0502020204030204" pitchFamily="34" charset="0"/>
                <a:ea typeface="Open Sans" panose="020B0606030504020204" pitchFamily="34" charset="0"/>
                <a:cs typeface="Calibri" panose="020F0502020204030204" pitchFamily="34" charset="0"/>
              </a:rPr>
              <a:t>Kofinanziert von der Europäischen Union. Die geäußerten Ansichten und Meinungen sind jedoch ausschließlich die des Autors bzw. der Autoren und spiegeln nicht unbedingt die der Europäischen Union oder der Stiftung für die Entwicklung des Bildungswesens wider. Weder die Europäische Union noch die Einrichtung, die den Zuschuss gewährt, können für diese verantwortlich gemacht werden. 2022-1-PL01-KA220-YOU-000087822</a:t>
            </a:r>
            <a:endParaRPr lang="en-IE" sz="700" dirty="0">
              <a:solidFill>
                <a:srgbClr val="11496E"/>
              </a:solidFill>
              <a:latin typeface="Calibri" panose="020F0502020204030204" pitchFamily="34" charset="0"/>
              <a:ea typeface="Open Sans" panose="020B0606030504020204" pitchFamily="34" charset="0"/>
              <a:cs typeface="Calibri" panose="020F0502020204030204" pitchFamily="34" charset="0"/>
            </a:endParaRPr>
          </a:p>
        </p:txBody>
      </p:sp>
      <p:pic>
        <p:nvPicPr>
          <p:cNvPr id="6" name="Picture Placeholder 6">
            <a:extLst>
              <a:ext uri="{FF2B5EF4-FFF2-40B4-BE49-F238E27FC236}">
                <a16:creationId xmlns:a16="http://schemas.microsoft.com/office/drawing/2014/main" id="{095118AB-C459-D1D2-65D8-E62652550449}"/>
              </a:ext>
            </a:extLst>
          </p:cNvPr>
          <p:cNvPicPr>
            <a:picLocks noGrp="1" noChangeAspect="1"/>
          </p:cNvPicPr>
          <p:nvPr>
            <p:ph type="pic" sz="quarter" idx="44"/>
          </p:nvPr>
        </p:nvPicPr>
        <p:blipFill rotWithShape="1">
          <a:blip r:embed="rId3" cstate="email">
            <a:extLst>
              <a:ext uri="{28A0092B-C50C-407E-A947-70E740481C1C}">
                <a14:useLocalDpi xmlns:a14="http://schemas.microsoft.com/office/drawing/2010/main"/>
              </a:ext>
            </a:extLst>
          </a:blip>
          <a:srcRect l="23750" r="23750"/>
          <a:stretch/>
        </p:blipFill>
        <p:spPr>
          <a:xfrm>
            <a:off x="5718175" y="14288"/>
            <a:ext cx="5534025" cy="6880225"/>
          </a:xfrm>
        </p:spPr>
      </p:pic>
    </p:spTree>
    <p:extLst>
      <p:ext uri="{BB962C8B-B14F-4D97-AF65-F5344CB8AC3E}">
        <p14:creationId xmlns:p14="http://schemas.microsoft.com/office/powerpoint/2010/main" val="2015577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a:xfrm>
            <a:off x="3879841" y="512011"/>
            <a:ext cx="7160276" cy="730066"/>
          </a:xfrm>
        </p:spPr>
        <p:txBody>
          <a:bodyPr/>
          <a:lstStyle/>
          <a:p>
            <a:r>
              <a:rPr lang="en-IE" dirty="0"/>
              <a:t>Marktforschung</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79841" y="1145105"/>
            <a:ext cx="7453686" cy="945874"/>
          </a:xfrm>
        </p:spPr>
        <p:txBody>
          <a:bodyPr/>
          <a:lstStyle/>
          <a:p>
            <a:pPr algn="just"/>
            <a:r>
              <a:rPr lang="en-GB" sz="2000" dirty="0"/>
              <a:t>Bei der Marktforschung werden Verbrauchertrends und -präferenzen eingehend analysiert, so dass Unternehmen Bereiche ermitteln können, in denen sich Nachhaltigkeitsbelange und Verbraucherwünsche überschneiden. Die Verwendung von Tools wie </a:t>
            </a:r>
            <a:r>
              <a:rPr lang="en-GB" sz="2000" dirty="0">
                <a:hlinkClick r:id="rId2"/>
              </a:rPr>
              <a:t>SurveyMonkey </a:t>
            </a:r>
            <a:r>
              <a:rPr lang="en-GB" sz="2000" dirty="0"/>
              <a:t>oder </a:t>
            </a:r>
            <a:r>
              <a:rPr lang="en-GB" sz="2000" dirty="0">
                <a:hlinkClick r:id="rId3"/>
              </a:rPr>
              <a:t>Google Forms </a:t>
            </a:r>
            <a:r>
              <a:rPr lang="en-GB" sz="2000" dirty="0"/>
              <a:t>für Marktforschungsumfragen ermöglicht es Unternehmen, wertvolle Einblicke in das Verhalten und die Vorlieben der Verbraucher zu gewinnen.</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Trendanalyse</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79841" y="4346313"/>
            <a:ext cx="7453686" cy="945874"/>
          </a:xfrm>
        </p:spPr>
        <p:txBody>
          <a:bodyPr/>
          <a:lstStyle/>
          <a:p>
            <a:pPr algn="just"/>
            <a:r>
              <a:rPr lang="en-GB" sz="2000" dirty="0"/>
              <a:t>Für Unternehmen, die nachhaltig innovieren wollen, ist es unerlässlich, sich über neue Nachhaltigkeitstrends und Entwicklungen auf dem Laufenden zu halten. Die Beobachtung von Branchenberichten, Veröffentlichungen und Online-Ressourcen wie </a:t>
            </a:r>
            <a:r>
              <a:rPr lang="en-GB" sz="2000" dirty="0">
                <a:hlinkClick r:id="rId4"/>
              </a:rPr>
              <a:t>TrendWatching.com </a:t>
            </a:r>
            <a:r>
              <a:rPr lang="en-GB" sz="2000" dirty="0"/>
              <a:t>bietet wertvolle Einblicke in die neuesten Nachhaltigkeitstrends und ermöglicht es Unternehmen, ihre Strategien entsprechend anzupassen.</a:t>
            </a:r>
            <a:endParaRPr lang="en-IE" sz="2000" dirty="0"/>
          </a:p>
        </p:txBody>
      </p:sp>
      <p:pic>
        <p:nvPicPr>
          <p:cNvPr id="6" name="Picture Placeholder 10">
            <a:extLst>
              <a:ext uri="{FF2B5EF4-FFF2-40B4-BE49-F238E27FC236}">
                <a16:creationId xmlns:a16="http://schemas.microsoft.com/office/drawing/2014/main" id="{74B8386F-D644-3893-F2BF-162A7B7104CF}"/>
              </a:ext>
            </a:extLst>
          </p:cNvPr>
          <p:cNvPicPr>
            <a:picLocks noGrp="1" noChangeAspect="1"/>
          </p:cNvPicPr>
          <p:nvPr>
            <p:ph type="pic" sz="quarter" idx="57"/>
          </p:nvPr>
        </p:nvPicPr>
        <p:blipFill>
          <a:blip r:embed="rId5" cstate="email">
            <a:extLst>
              <a:ext uri="{28A0092B-C50C-407E-A947-70E740481C1C}">
                <a14:useLocalDpi xmlns:a14="http://schemas.microsoft.com/office/drawing/2010/main"/>
              </a:ext>
            </a:extLst>
          </a:blip>
          <a:srcRect l="11833" r="11833"/>
          <a:stretch>
            <a:fillRect/>
          </a:stretch>
        </p:blipFill>
        <p:spPr>
          <a:xfrm>
            <a:off x="1436688" y="984250"/>
            <a:ext cx="1839912" cy="1608138"/>
          </a:xfrm>
          <a:ln>
            <a:solidFill>
              <a:schemeClr val="tx1"/>
            </a:solidFill>
          </a:ln>
        </p:spPr>
      </p:pic>
      <p:pic>
        <p:nvPicPr>
          <p:cNvPr id="8" name="Picture Placeholder 12">
            <a:extLst>
              <a:ext uri="{FF2B5EF4-FFF2-40B4-BE49-F238E27FC236}">
                <a16:creationId xmlns:a16="http://schemas.microsoft.com/office/drawing/2014/main" id="{375AEE98-2E8B-E00D-80BE-C2C54A762101}"/>
              </a:ext>
            </a:extLst>
          </p:cNvPr>
          <p:cNvPicPr>
            <a:picLocks noGrp="1" noChangeAspect="1"/>
          </p:cNvPicPr>
          <p:nvPr>
            <p:ph type="pic" sz="quarter" idx="56"/>
          </p:nvPr>
        </p:nvPicPr>
        <p:blipFill>
          <a:blip r:embed="rId6" cstate="email">
            <a:extLst>
              <a:ext uri="{28A0092B-C50C-407E-A947-70E740481C1C}">
                <a14:useLocalDpi xmlns:a14="http://schemas.microsoft.com/office/drawing/2010/main"/>
              </a:ext>
            </a:extLst>
          </a:blip>
          <a:srcRect l="11877" r="11877"/>
          <a:stretch>
            <a:fillRect/>
          </a:stretch>
        </p:blipFill>
        <p:spPr>
          <a:xfrm>
            <a:off x="1436688" y="3657600"/>
            <a:ext cx="1839912" cy="1608138"/>
          </a:xfrm>
          <a:ln>
            <a:solidFill>
              <a:schemeClr val="tx1"/>
            </a:solidFill>
          </a:ln>
        </p:spPr>
      </p:pic>
    </p:spTree>
    <p:extLst>
      <p:ext uri="{BB962C8B-B14F-4D97-AF65-F5344CB8AC3E}">
        <p14:creationId xmlns:p14="http://schemas.microsoft.com/office/powerpoint/2010/main" val="2453771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2C644E-3BDB-BE26-327F-6EB1B2F033C4}"/>
              </a:ext>
            </a:extLst>
          </p:cNvPr>
          <p:cNvSpPr>
            <a:spLocks noGrp="1"/>
          </p:cNvSpPr>
          <p:nvPr>
            <p:ph type="body" sz="quarter" idx="49"/>
          </p:nvPr>
        </p:nvSpPr>
        <p:spPr>
          <a:xfrm>
            <a:off x="3879841" y="741601"/>
            <a:ext cx="7160276" cy="730066"/>
          </a:xfrm>
        </p:spPr>
        <p:txBody>
          <a:bodyPr/>
          <a:lstStyle/>
          <a:p>
            <a:r>
              <a:rPr lang="en-IE" dirty="0"/>
              <a:t>Engagement der Interessengruppen </a:t>
            </a:r>
          </a:p>
        </p:txBody>
      </p:sp>
      <p:sp>
        <p:nvSpPr>
          <p:cNvPr id="3" name="Text Placeholder 2">
            <a:extLst>
              <a:ext uri="{FF2B5EF4-FFF2-40B4-BE49-F238E27FC236}">
                <a16:creationId xmlns:a16="http://schemas.microsoft.com/office/drawing/2014/main" id="{06CA7140-FA10-8887-3971-BE0BA0CB5742}"/>
              </a:ext>
            </a:extLst>
          </p:cNvPr>
          <p:cNvSpPr>
            <a:spLocks noGrp="1"/>
          </p:cNvSpPr>
          <p:nvPr>
            <p:ph type="body" sz="quarter" idx="50"/>
          </p:nvPr>
        </p:nvSpPr>
        <p:spPr>
          <a:xfrm>
            <a:off x="3879841" y="1460864"/>
            <a:ext cx="7646632" cy="945874"/>
          </a:xfrm>
        </p:spPr>
        <p:txBody>
          <a:bodyPr/>
          <a:lstStyle/>
          <a:p>
            <a:pPr algn="just"/>
            <a:r>
              <a:rPr lang="en-GB" sz="2000" dirty="0"/>
              <a:t>Der Dialog mit den Stakeholdern ist der Schlüssel zum Verständnis ihrer Nachhaltigkeitsvorlieben und zur Gewinnung von Erkenntnissen, die in die Unternehmensentscheidungen einfließen. Durch </a:t>
            </a:r>
            <a:r>
              <a:rPr lang="en-GB" sz="2000" b="1" dirty="0"/>
              <a:t>Interviews, Fokusgruppen </a:t>
            </a:r>
            <a:r>
              <a:rPr lang="en-GB" sz="2000" dirty="0"/>
              <a:t>oder </a:t>
            </a:r>
            <a:r>
              <a:rPr lang="en-GB" sz="2000" b="1" dirty="0"/>
              <a:t>Workshops </a:t>
            </a:r>
            <a:r>
              <a:rPr lang="en-GB" sz="2000" dirty="0"/>
              <a:t>können Unternehmen gemeinsam mit Stakeholdern nachhaltige Lösungen entwickeln, die ihren Bedürfnissen entsprechen. </a:t>
            </a:r>
          </a:p>
        </p:txBody>
      </p:sp>
      <p:sp>
        <p:nvSpPr>
          <p:cNvPr id="4" name="Text Placeholder 3">
            <a:extLst>
              <a:ext uri="{FF2B5EF4-FFF2-40B4-BE49-F238E27FC236}">
                <a16:creationId xmlns:a16="http://schemas.microsoft.com/office/drawing/2014/main" id="{9E77E1B6-93C5-1D40-00E9-C0509079BEF2}"/>
              </a:ext>
            </a:extLst>
          </p:cNvPr>
          <p:cNvSpPr>
            <a:spLocks noGrp="1"/>
          </p:cNvSpPr>
          <p:nvPr>
            <p:ph type="body" sz="quarter" idx="51"/>
          </p:nvPr>
        </p:nvSpPr>
        <p:spPr/>
        <p:txBody>
          <a:bodyPr/>
          <a:lstStyle/>
          <a:p>
            <a:r>
              <a:rPr lang="en-IE" dirty="0"/>
              <a:t>Entwicklung innovativer Lösungen</a:t>
            </a:r>
          </a:p>
        </p:txBody>
      </p:sp>
      <p:sp>
        <p:nvSpPr>
          <p:cNvPr id="5" name="Text Placeholder 4">
            <a:extLst>
              <a:ext uri="{FF2B5EF4-FFF2-40B4-BE49-F238E27FC236}">
                <a16:creationId xmlns:a16="http://schemas.microsoft.com/office/drawing/2014/main" id="{AFFF572B-3D16-8DCC-DA9F-26EADD2831AD}"/>
              </a:ext>
            </a:extLst>
          </p:cNvPr>
          <p:cNvSpPr>
            <a:spLocks noGrp="1"/>
          </p:cNvSpPr>
          <p:nvPr>
            <p:ph type="body" sz="quarter" idx="52"/>
          </p:nvPr>
        </p:nvSpPr>
        <p:spPr>
          <a:xfrm>
            <a:off x="3879841" y="4296359"/>
            <a:ext cx="7646632" cy="945874"/>
          </a:xfrm>
        </p:spPr>
        <p:txBody>
          <a:bodyPr/>
          <a:lstStyle/>
          <a:p>
            <a:pPr algn="just"/>
            <a:r>
              <a:rPr lang="en-GB" sz="2000" dirty="0"/>
              <a:t>Mithilfe von Erkenntnissen aus der </a:t>
            </a:r>
            <a:r>
              <a:rPr lang="en-GB" sz="2000" b="1" dirty="0"/>
              <a:t>Marktforschung</a:t>
            </a:r>
            <a:r>
              <a:rPr lang="en-GB" sz="2000" dirty="0"/>
              <a:t>, der </a:t>
            </a:r>
            <a:r>
              <a:rPr lang="en-GB" sz="2000" b="1" dirty="0"/>
              <a:t>Trendanalyse </a:t>
            </a:r>
            <a:r>
              <a:rPr lang="en-GB" sz="2000" dirty="0"/>
              <a:t>und der </a:t>
            </a:r>
            <a:r>
              <a:rPr lang="en-GB" sz="2000" b="1" dirty="0"/>
              <a:t>Einbindung von Interessengruppen </a:t>
            </a:r>
            <a:r>
              <a:rPr lang="en-GB" sz="2000" dirty="0"/>
              <a:t>können Unternehmen innovative Lösungen entwickeln, die den Herausforderungen der Nachhaltigkeit gerecht werden und gleichzeitig die Bedürfnisse und Vorlieben der Verbraucher erfüllen. Die Einführung einer nachhaltigen Produktlinie auf der Grundlage des Feedbacks von Interessengruppen ist ein Beispiel für die Anwendung dieser Techniken in der Praxis.</a:t>
            </a:r>
            <a:endParaRPr lang="en-IE" sz="2000" dirty="0"/>
          </a:p>
        </p:txBody>
      </p:sp>
      <p:pic>
        <p:nvPicPr>
          <p:cNvPr id="6" name="Picture Placeholder 8">
            <a:extLst>
              <a:ext uri="{FF2B5EF4-FFF2-40B4-BE49-F238E27FC236}">
                <a16:creationId xmlns:a16="http://schemas.microsoft.com/office/drawing/2014/main" id="{86974E16-E953-1974-C519-759B884632A4}"/>
              </a:ext>
            </a:extLst>
          </p:cNvPr>
          <p:cNvPicPr>
            <a:picLocks noGrp="1" noChangeAspect="1"/>
          </p:cNvPicPr>
          <p:nvPr>
            <p:ph type="pic" sz="quarter" idx="57"/>
          </p:nvPr>
        </p:nvPicPr>
        <p:blipFill>
          <a:blip r:embed="rId2" cstate="email">
            <a:extLst>
              <a:ext uri="{28A0092B-C50C-407E-A947-70E740481C1C}">
                <a14:useLocalDpi xmlns:a14="http://schemas.microsoft.com/office/drawing/2010/main"/>
              </a:ext>
            </a:extLst>
          </a:blip>
          <a:srcRect t="497" b="497"/>
          <a:stretch>
            <a:fillRect/>
          </a:stretch>
        </p:blipFill>
        <p:spPr>
          <a:xfrm>
            <a:off x="1436688" y="984250"/>
            <a:ext cx="1839912" cy="1608138"/>
          </a:xfrm>
          <a:ln>
            <a:solidFill>
              <a:schemeClr val="tx1"/>
            </a:solidFill>
          </a:ln>
        </p:spPr>
      </p:pic>
      <p:pic>
        <p:nvPicPr>
          <p:cNvPr id="8" name="Picture Placeholder 10">
            <a:extLst>
              <a:ext uri="{FF2B5EF4-FFF2-40B4-BE49-F238E27FC236}">
                <a16:creationId xmlns:a16="http://schemas.microsoft.com/office/drawing/2014/main" id="{F07AE978-0F41-97C7-FA00-0081BE1AEFE1}"/>
              </a:ext>
            </a:extLst>
          </p:cNvPr>
          <p:cNvPicPr>
            <a:picLocks noGrp="1" noChangeAspect="1"/>
          </p:cNvPicPr>
          <p:nvPr>
            <p:ph type="pic" sz="quarter" idx="56"/>
          </p:nvPr>
        </p:nvPicPr>
        <p:blipFill>
          <a:blip r:embed="rId3" cstate="email">
            <a:extLst>
              <a:ext uri="{28A0092B-C50C-407E-A947-70E740481C1C}">
                <a14:useLocalDpi xmlns:a14="http://schemas.microsoft.com/office/drawing/2010/main"/>
              </a:ext>
            </a:extLst>
          </a:blip>
          <a:srcRect l="11877" r="11877"/>
          <a:stretch>
            <a:fillRect/>
          </a:stretch>
        </p:blipFill>
        <p:spPr>
          <a:xfrm>
            <a:off x="1436688" y="3657600"/>
            <a:ext cx="1839912" cy="1608138"/>
          </a:xfrm>
          <a:ln>
            <a:solidFill>
              <a:schemeClr val="tx1"/>
            </a:solidFill>
          </a:ln>
        </p:spPr>
      </p:pic>
    </p:spTree>
    <p:extLst>
      <p:ext uri="{BB962C8B-B14F-4D97-AF65-F5344CB8AC3E}">
        <p14:creationId xmlns:p14="http://schemas.microsoft.com/office/powerpoint/2010/main" val="1066568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94C3F38-D5B4-4CFA-4C0B-41A0A0FC9E34}"/>
              </a:ext>
            </a:extLst>
          </p:cNvPr>
          <p:cNvGraphicFramePr>
            <a:graphicFrameLocks noChangeAspect="1"/>
          </p:cNvGraphicFramePr>
          <p:nvPr>
            <p:custDataLst>
              <p:tags r:id="rId1"/>
            </p:custDataLst>
            <p:extLst>
              <p:ext uri="{D42A27DB-BD31-4B8C-83A1-F6EECF244321}">
                <p14:modId xmlns:p14="http://schemas.microsoft.com/office/powerpoint/2010/main" val="495583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EADE7C7-545D-E526-C0A4-4E30FB504648}"/>
              </a:ext>
            </a:extLst>
          </p:cNvPr>
          <p:cNvSpPr>
            <a:spLocks noGrp="1"/>
          </p:cNvSpPr>
          <p:nvPr>
            <p:ph type="body" sz="quarter" idx="48"/>
          </p:nvPr>
        </p:nvSpPr>
        <p:spPr>
          <a:xfrm>
            <a:off x="5293453" y="1543575"/>
            <a:ext cx="6373940" cy="4338922"/>
          </a:xfrm>
        </p:spPr>
        <p:txBody>
          <a:bodyPr/>
          <a:lstStyle/>
          <a:p>
            <a:r>
              <a:rPr lang="en-GB" sz="1800" b="1" dirty="0"/>
              <a:t>Workshop Marktanalyse </a:t>
            </a:r>
          </a:p>
          <a:p>
            <a:r>
              <a:rPr lang="en-GB" sz="1800" b="1" dirty="0"/>
              <a:t>Zielsetzung:</a:t>
            </a:r>
            <a:r>
              <a:rPr lang="en-GB" sz="1800" dirty="0"/>
              <a:t> Durchführen einer Marktanalyse für eine nachhaltige Geschäftsidee.</a:t>
            </a:r>
          </a:p>
          <a:p>
            <a:endParaRPr lang="en-GB" sz="900" b="1" dirty="0"/>
          </a:p>
          <a:p>
            <a:r>
              <a:rPr lang="en-GB" sz="1800" b="1" dirty="0"/>
              <a:t>Umfrage erstellen: </a:t>
            </a:r>
            <a:r>
              <a:rPr lang="en-GB" sz="1800" dirty="0"/>
              <a:t>Verwenden Sie SurveyMonkey oder Google Forms, um eine Umfrage zu Nachhaltigkeitspräferenzen zu erstellen.</a:t>
            </a:r>
          </a:p>
          <a:p>
            <a:endParaRPr lang="en-GB" sz="900" b="1" dirty="0"/>
          </a:p>
          <a:p>
            <a:r>
              <a:rPr lang="en-GB" sz="1800" b="1" dirty="0"/>
              <a:t>Datenerhebung: </a:t>
            </a:r>
            <a:r>
              <a:rPr lang="en-GB" sz="1800" dirty="0"/>
              <a:t>Verteilen Sie die Umfrage und analysieren Sie die Ergebnisse auf Trends und Marktlücken.</a:t>
            </a:r>
          </a:p>
          <a:p>
            <a:endParaRPr lang="en-GB" sz="900" dirty="0"/>
          </a:p>
          <a:p>
            <a:r>
              <a:rPr lang="en-GB" sz="1800" b="1" dirty="0"/>
              <a:t>Identifizierung von Chancen: </a:t>
            </a:r>
            <a:r>
              <a:rPr lang="en-GB" sz="1800" dirty="0"/>
              <a:t>Brainstorming nachhaltiger Geschäftsideen auf der Grundlage der Umfrageergebnisse.</a:t>
            </a:r>
          </a:p>
          <a:p>
            <a:endParaRPr lang="en-GB" sz="900" dirty="0"/>
          </a:p>
          <a:p>
            <a:r>
              <a:rPr lang="en-GB" sz="1800" b="1" dirty="0"/>
              <a:t>Diskussion: </a:t>
            </a:r>
            <a:r>
              <a:rPr lang="en-GB" sz="1800" dirty="0"/>
              <a:t>Bewertung der Möglichkeiten im Hinblick auf Durchführbarkeit und ethische Erwägungen.</a:t>
            </a:r>
          </a:p>
          <a:p>
            <a:endParaRPr lang="en-GB" sz="900" dirty="0"/>
          </a:p>
          <a:p>
            <a:r>
              <a:rPr lang="en-GB" sz="1800" b="1" dirty="0"/>
              <a:t>Ergebnis: </a:t>
            </a:r>
            <a:r>
              <a:rPr lang="en-GB" sz="1800" dirty="0"/>
              <a:t>Erwerb praktischer Erfahrung in der Analyse nachhaltiger Märkte und der Identifizierung realisierbarer Chancen.</a:t>
            </a:r>
            <a:endParaRPr lang="en-IE" sz="1800" dirty="0"/>
          </a:p>
          <a:p>
            <a:endParaRPr lang="en-IE" sz="1800" dirty="0"/>
          </a:p>
        </p:txBody>
      </p:sp>
      <p:pic>
        <p:nvPicPr>
          <p:cNvPr id="2" name="Picture Placeholder 5" descr="Two cute robots">
            <a:extLst>
              <a:ext uri="{FF2B5EF4-FFF2-40B4-BE49-F238E27FC236}">
                <a16:creationId xmlns:a16="http://schemas.microsoft.com/office/drawing/2014/main" id="{BDB812D8-C281-97E5-80A8-067BCDD34161}"/>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103188" y="0"/>
            <a:ext cx="4994276" cy="6858000"/>
          </a:xfrm>
        </p:spPr>
      </p:pic>
      <p:sp>
        <p:nvSpPr>
          <p:cNvPr id="3" name="Text Placeholder 2">
            <a:extLst>
              <a:ext uri="{FF2B5EF4-FFF2-40B4-BE49-F238E27FC236}">
                <a16:creationId xmlns:a16="http://schemas.microsoft.com/office/drawing/2014/main" id="{4DBBFE91-6E98-1F11-5E50-B3AD61BD6C53}"/>
              </a:ext>
            </a:extLst>
          </p:cNvPr>
          <p:cNvSpPr>
            <a:spLocks noGrp="1"/>
          </p:cNvSpPr>
          <p:nvPr>
            <p:ph type="body" sz="quarter" idx="30"/>
          </p:nvPr>
        </p:nvSpPr>
        <p:spPr>
          <a:xfrm>
            <a:off x="4580402" y="317364"/>
            <a:ext cx="6776598" cy="842867"/>
          </a:xfrm>
        </p:spPr>
        <p:txBody>
          <a:bodyPr/>
          <a:lstStyle/>
          <a:p>
            <a:r>
              <a:rPr lang="en-IE" dirty="0"/>
              <a:t>PRAKTISCHE ÜBUNG</a:t>
            </a:r>
          </a:p>
        </p:txBody>
      </p:sp>
    </p:spTree>
    <p:extLst>
      <p:ext uri="{BB962C8B-B14F-4D97-AF65-F5344CB8AC3E}">
        <p14:creationId xmlns:p14="http://schemas.microsoft.com/office/powerpoint/2010/main" val="14829034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0" y="553869"/>
            <a:ext cx="10483431" cy="804265"/>
          </a:xfrm>
        </p:spPr>
        <p:txBody>
          <a:bodyPr/>
          <a:lstStyle/>
          <a:p>
            <a:r>
              <a:rPr lang="en-GB" sz="3200" dirty="0"/>
              <a:t>SDGS UND ENTRECOMP-ABGLEICH</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266739"/>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Ziel 12: Verantwortungsbewusster Konsum und Produktion</a:t>
            </a:r>
            <a:r>
              <a:rPr lang="en-GB" sz="2000" b="1" dirty="0"/>
              <a:t>: </a:t>
            </a:r>
            <a:r>
              <a:rPr lang="en-GB" sz="2000" dirty="0"/>
              <a:t>Analysieren, wie nachhaltige Geschäftspraktiken dazu beitragen, das Abfallaufkommen zu verringern, die Ressourceneffizienz zu fördern und nachhaltige Konsummuster zu unterstützen.</a:t>
            </a:r>
          </a:p>
          <a:p>
            <a:pPr algn="just"/>
            <a:endParaRPr lang="en-GB" sz="9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Ziel 13: Klimamaßnahmen</a:t>
            </a:r>
            <a:r>
              <a:rPr lang="en-GB" sz="2000" b="1" dirty="0"/>
              <a:t>: </a:t>
            </a:r>
            <a:r>
              <a:rPr lang="en-GB" sz="2000" dirty="0"/>
              <a:t>Erkundung von Möglichkeiten, die Auswirkungen des Klimawandels durch nachhaltige Produkte/Dienstleistungen und umweltfreundliche Praktiken abzumildern.</a:t>
            </a:r>
          </a:p>
          <a:p>
            <a:pPr algn="just"/>
            <a:endParaRPr lang="en-GB" sz="900" dirty="0"/>
          </a:p>
          <a:p>
            <a:pPr algn="just"/>
            <a:r>
              <a:rPr lang="en-GB" sz="2000" b="1" dirty="0"/>
              <a:t>2.1 Selbstwahrnehmung und Selbstwirksamkeit: </a:t>
            </a:r>
            <a:r>
              <a:rPr lang="en-GB" sz="2000" dirty="0"/>
              <a:t>An sich selbst glauben und sich weiter entwickeln: Das eigene Unternehmen vorantreiben, Verantwortung für die Führung eines Unternehmens übernehmen.</a:t>
            </a:r>
          </a:p>
          <a:p>
            <a:pPr algn="just"/>
            <a:endParaRPr lang="en-GB" sz="900" dirty="0"/>
          </a:p>
          <a:p>
            <a:pPr algn="just"/>
            <a:r>
              <a:rPr lang="en-GB" sz="2000" b="1" dirty="0"/>
              <a:t>3.1 Erkennen von Chancen: </a:t>
            </a:r>
            <a:r>
              <a:rPr lang="en-GB" sz="2000" dirty="0"/>
              <a:t>Identifizierung und Bewertung nachhaltiger Geschäftsmöglichkeiten auf der Grundlage von Marktanalysen und Verbraucherinformationen.</a:t>
            </a:r>
          </a:p>
          <a:p>
            <a:pPr algn="just"/>
            <a:endParaRPr lang="en-GB" sz="900" b="1" dirty="0"/>
          </a:p>
          <a:p>
            <a:pPr algn="just"/>
            <a:r>
              <a:rPr lang="en-GB" sz="2000" b="1" dirty="0"/>
              <a:t>3.2 Strategisches Denken: </a:t>
            </a:r>
            <a:r>
              <a:rPr lang="en-GB" sz="2000" dirty="0"/>
              <a:t>Entwicklung strategischer Pläne, um aus nachhaltigen Trends und Verbraucherpräferenzen Kapital zu schlagen.</a:t>
            </a:r>
          </a:p>
          <a:p>
            <a:pPr algn="just"/>
            <a:endParaRPr lang="en-GB" sz="900" b="1" dirty="0"/>
          </a:p>
          <a:p>
            <a:pPr algn="just"/>
            <a:r>
              <a:rPr lang="en-GB" sz="2000" b="1" dirty="0"/>
              <a:t>3.3 Sinn für Initiative und Unternehmertum: </a:t>
            </a:r>
            <a:r>
              <a:rPr lang="en-GB" sz="2000" dirty="0"/>
              <a:t>Sich proaktiv an Marktanalysen beteiligen, um innovativ zu sein und nachhaltige Unternehmungen zu schaffen, die gesellschaftliche Herausforderungen angehen.</a:t>
            </a:r>
            <a:endParaRPr lang="en-IE" sz="2000" dirty="0"/>
          </a:p>
        </p:txBody>
      </p:sp>
      <p:pic>
        <p:nvPicPr>
          <p:cNvPr id="4" name="Picture 2">
            <a:extLst>
              <a:ext uri="{FF2B5EF4-FFF2-40B4-BE49-F238E27FC236}">
                <a16:creationId xmlns:a16="http://schemas.microsoft.com/office/drawing/2014/main" id="{E1F188E1-75D8-C61B-B3D3-A687CFFFBAA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680895" y="474489"/>
            <a:ext cx="778760" cy="77876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034A8D5-B145-4791-07BF-367BA12E42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93143" y="489727"/>
            <a:ext cx="1286608" cy="715512"/>
          </a:xfrm>
          <a:prstGeom prst="rect">
            <a:avLst/>
          </a:prstGeom>
        </p:spPr>
      </p:pic>
    </p:spTree>
    <p:extLst>
      <p:ext uri="{BB962C8B-B14F-4D97-AF65-F5344CB8AC3E}">
        <p14:creationId xmlns:p14="http://schemas.microsoft.com/office/powerpoint/2010/main" val="21137076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68989EE6-9A53-B7AD-77BC-B953F6F68CBB}"/>
              </a:ext>
            </a:extLst>
          </p:cNvPr>
          <p:cNvGraphicFramePr>
            <a:graphicFrameLocks noChangeAspect="1"/>
          </p:cNvGraphicFramePr>
          <p:nvPr>
            <p:custDataLst>
              <p:tags r:id="rId1"/>
            </p:custDataLst>
            <p:extLst>
              <p:ext uri="{D42A27DB-BD31-4B8C-83A1-F6EECF244321}">
                <p14:modId xmlns:p14="http://schemas.microsoft.com/office/powerpoint/2010/main" val="470812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681C4412-2DE9-A030-FA0B-5492A2B445B3}"/>
              </a:ext>
            </a:extLst>
          </p:cNvPr>
          <p:cNvPicPr>
            <a:picLocks noGrp="1" noChangeAspect="1"/>
          </p:cNvPicPr>
          <p:nvPr>
            <p:ph type="pic" sz="quarter" idx="21"/>
          </p:nvPr>
        </p:nvPicPr>
        <p:blipFill rotWithShape="1">
          <a:blip r:embed="rId6"/>
          <a:srcRect l="17594" r="17594"/>
          <a:stretch/>
        </p:blipFill>
        <p:spPr>
          <a:xfrm>
            <a:off x="884238" y="0"/>
            <a:ext cx="4994275" cy="6858000"/>
          </a:xfrm>
        </p:spPr>
      </p:pic>
      <p:sp>
        <p:nvSpPr>
          <p:cNvPr id="3" name="Text Placeholder 2">
            <a:extLst>
              <a:ext uri="{FF2B5EF4-FFF2-40B4-BE49-F238E27FC236}">
                <a16:creationId xmlns:a16="http://schemas.microsoft.com/office/drawing/2014/main" id="{CA3B51A3-DEEC-6CC6-D5F9-1C2C631D895E}"/>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180ACFC8-5BAC-68DB-C058-BAA52B66A4BC}"/>
              </a:ext>
            </a:extLst>
          </p:cNvPr>
          <p:cNvSpPr>
            <a:spLocks noGrp="1"/>
          </p:cNvSpPr>
          <p:nvPr>
            <p:ph type="body" sz="quarter" idx="48"/>
          </p:nvPr>
        </p:nvSpPr>
        <p:spPr>
          <a:xfrm>
            <a:off x="6430340" y="2019623"/>
            <a:ext cx="4993772" cy="3889855"/>
          </a:xfrm>
        </p:spPr>
        <p:txBody>
          <a:bodyPr/>
          <a:lstStyle/>
          <a:p>
            <a:pPr algn="just"/>
            <a:r>
              <a:rPr lang="en-GB" sz="2200" b="1" i="0" dirty="0">
                <a:effectLst/>
                <a:highlight>
                  <a:srgbClr val="FFFFFF"/>
                </a:highlight>
                <a:latin typeface="var(--artdeco-reset-typography-font-family-sans)"/>
                <a:hlinkClick r:id="rId7"/>
              </a:rPr>
              <a:t>Die Bedeutung der Durchführung einer Marktanalyse vor der Gründung eines Unternehmens </a:t>
            </a:r>
            <a:endParaRPr lang="en-GB" sz="2200" i="0" dirty="0">
              <a:effectLst/>
              <a:highlight>
                <a:srgbClr val="FFFFFF"/>
              </a:highlight>
              <a:latin typeface="var(--artdeco-reset-typography-font-family-sans)"/>
            </a:endParaRPr>
          </a:p>
          <a:p>
            <a:pPr algn="just"/>
            <a:endParaRPr lang="en-GB" sz="2200" dirty="0">
              <a:highlight>
                <a:srgbClr val="FFFFFF"/>
              </a:highlight>
              <a:latin typeface="var(--artdeco-reset-typography-font-family-sans)"/>
            </a:endParaRPr>
          </a:p>
          <a:p>
            <a:pPr algn="just"/>
            <a:r>
              <a:rPr lang="en-GB" sz="2200" b="1" dirty="0">
                <a:highlight>
                  <a:srgbClr val="FFFFFF"/>
                </a:highlight>
                <a:latin typeface="var(--artdeco-reset-typography-font-family-sans)"/>
                <a:hlinkClick r:id="rId8"/>
              </a:rPr>
              <a:t>Chancen und Herausforderungen nachhaltiger Marketingpraktiken in Schwellenländern </a:t>
            </a:r>
            <a:endParaRPr lang="en-GB" sz="2200" dirty="0">
              <a:highlight>
                <a:srgbClr val="FFFFFF"/>
              </a:highlight>
              <a:latin typeface="var(--artdeco-reset-typography-font-family-sans)"/>
            </a:endParaRPr>
          </a:p>
          <a:p>
            <a:pPr algn="just"/>
            <a:endParaRPr lang="en-GB" sz="2200" i="0" dirty="0">
              <a:effectLst/>
              <a:highlight>
                <a:srgbClr val="FFFFFF"/>
              </a:highlight>
              <a:latin typeface="-apple-system"/>
            </a:endParaRPr>
          </a:p>
          <a:p>
            <a:pPr algn="just"/>
            <a:r>
              <a:rPr lang="en-GB" sz="2200" b="1" dirty="0">
                <a:hlinkClick r:id="rId9"/>
              </a:rPr>
              <a:t>Verbrauchertrends und Einblicke für 2024</a:t>
            </a:r>
            <a:r>
              <a:rPr lang="en-GB" sz="2200" b="1" dirty="0"/>
              <a:t>. </a:t>
            </a:r>
            <a:r>
              <a:rPr lang="en-GB" sz="2200" b="1" dirty="0" err="1"/>
              <a:t>TrendWatching </a:t>
            </a:r>
            <a:r>
              <a:rPr lang="en-GB" sz="2200" b="1" dirty="0"/>
              <a:t>ist eine führende Quelle für Verbrauchertrends, Einblicke und Innovationen.</a:t>
            </a:r>
            <a:endParaRPr lang="en-IE" sz="2200" dirty="0"/>
          </a:p>
        </p:txBody>
      </p:sp>
      <p:grpSp>
        <p:nvGrpSpPr>
          <p:cNvPr id="2" name="Graphic 4">
            <a:extLst>
              <a:ext uri="{FF2B5EF4-FFF2-40B4-BE49-F238E27FC236}">
                <a16:creationId xmlns:a16="http://schemas.microsoft.com/office/drawing/2014/main" id="{5D5CF4AE-4F54-3CBC-904B-D20FC0D6FBA8}"/>
              </a:ext>
            </a:extLst>
          </p:cNvPr>
          <p:cNvGrpSpPr/>
          <p:nvPr/>
        </p:nvGrpSpPr>
        <p:grpSpPr>
          <a:xfrm rot="19582332">
            <a:off x="10726449" y="718279"/>
            <a:ext cx="403667" cy="780438"/>
            <a:chOff x="9129274" y="2719113"/>
            <a:chExt cx="717139" cy="1386497"/>
          </a:xfrm>
          <a:solidFill>
            <a:srgbClr val="09465E"/>
          </a:solidFill>
        </p:grpSpPr>
        <p:grpSp>
          <p:nvGrpSpPr>
            <p:cNvPr id="5" name="Graphic 4">
              <a:extLst>
                <a:ext uri="{FF2B5EF4-FFF2-40B4-BE49-F238E27FC236}">
                  <a16:creationId xmlns:a16="http://schemas.microsoft.com/office/drawing/2014/main" id="{78FB5ED4-36E5-A77F-7671-ABBE7E233738}"/>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74C1B9A3-8AE7-528F-29F1-26A0321DC31C}"/>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1B961D1E-949A-48D0-1DFB-20E33054606C}"/>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7" name="Graphic 4">
              <a:extLst>
                <a:ext uri="{FF2B5EF4-FFF2-40B4-BE49-F238E27FC236}">
                  <a16:creationId xmlns:a16="http://schemas.microsoft.com/office/drawing/2014/main" id="{F3F63E56-8255-91EC-5A0C-7E4EBDFE2E48}"/>
                </a:ext>
              </a:extLst>
            </p:cNvPr>
            <p:cNvGrpSpPr/>
            <p:nvPr/>
          </p:nvGrpSpPr>
          <p:grpSpPr>
            <a:xfrm>
              <a:off x="9129274" y="2893887"/>
              <a:ext cx="717139" cy="1211724"/>
              <a:chOff x="9129274" y="2893887"/>
              <a:chExt cx="717139" cy="1211724"/>
            </a:xfrm>
            <a:grpFill/>
          </p:grpSpPr>
          <p:sp>
            <p:nvSpPr>
              <p:cNvPr id="8" name="Freeform 50">
                <a:extLst>
                  <a:ext uri="{FF2B5EF4-FFF2-40B4-BE49-F238E27FC236}">
                    <a16:creationId xmlns:a16="http://schemas.microsoft.com/office/drawing/2014/main" id="{29327D06-FA21-63B9-B497-1D8877F940F6}"/>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28987EBB-FFCB-82F5-848D-96B71E4D3253}"/>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F9CC96AA-AE1E-4DAA-8E3B-DE775B3E05E8}"/>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153AA92A-99DC-504E-7709-1293277F5DA8}"/>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5479C547-41EC-6CA3-2281-DC762CB2AC03}"/>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053B64B2-3226-1169-590D-2670A1EAF154}"/>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49B09E6F-10E8-A8CF-8FEA-150F541A298C}"/>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6290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64090F3-26B5-3CD9-1C84-F46D6E333B91}"/>
              </a:ext>
            </a:extLst>
          </p:cNvPr>
          <p:cNvGraphicFramePr>
            <a:graphicFrameLocks noChangeAspect="1"/>
          </p:cNvGraphicFramePr>
          <p:nvPr>
            <p:custDataLst>
              <p:tags r:id="rId1"/>
            </p:custDataLst>
            <p:extLst>
              <p:ext uri="{D42A27DB-BD31-4B8C-83A1-F6EECF244321}">
                <p14:modId xmlns:p14="http://schemas.microsoft.com/office/powerpoint/2010/main" val="4137341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Teacher pointing at laptop screen to young students">
            <a:extLst>
              <a:ext uri="{FF2B5EF4-FFF2-40B4-BE49-F238E27FC236}">
                <a16:creationId xmlns:a16="http://schemas.microsoft.com/office/drawing/2014/main" id="{51A508EC-0056-6523-56E8-3F42C7F895C0}"/>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33" b="6833"/>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113515" cy="2850370"/>
          </a:xfrm>
        </p:spPr>
        <p:txBody>
          <a:bodyPr/>
          <a:lstStyle/>
          <a:p>
            <a:r>
              <a:rPr lang="en-GB" b="1" dirty="0"/>
              <a:t>DIE BEDEUTUNG DES DIGITALEN MARKETINGS</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2</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1814723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CE15E8-605C-CAC0-54AC-9A8944DFF134}"/>
              </a:ext>
            </a:extLst>
          </p:cNvPr>
          <p:cNvGraphicFramePr>
            <a:graphicFrameLocks noChangeAspect="1"/>
          </p:cNvGraphicFramePr>
          <p:nvPr>
            <p:custDataLst>
              <p:tags r:id="rId1"/>
            </p:custDataLst>
            <p:extLst>
              <p:ext uri="{D42A27DB-BD31-4B8C-83A1-F6EECF244321}">
                <p14:modId xmlns:p14="http://schemas.microsoft.com/office/powerpoint/2010/main" val="315899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6</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13624" y="1786618"/>
            <a:ext cx="4939670" cy="3505583"/>
          </a:xfrm>
        </p:spPr>
        <p:txBody>
          <a:bodyPr/>
          <a:lstStyle/>
          <a:p>
            <a:pPr algn="just"/>
            <a:r>
              <a:rPr lang="en-GB" sz="2400" dirty="0"/>
              <a:t>Digitales Marketing hilft Unternehmen, ihre Nachhaltigkeitsbemühungen effektiv </a:t>
            </a:r>
            <a:r>
              <a:rPr lang="en-GB" sz="2400" b="1" dirty="0"/>
              <a:t>zu kommunizieren</a:t>
            </a:r>
            <a:r>
              <a:rPr lang="en-GB" sz="2400" dirty="0"/>
              <a:t>, umweltbewusste Verbraucher anzusprechen und positive Ergebnisse zu erzielen. </a:t>
            </a:r>
          </a:p>
          <a:p>
            <a:pPr algn="just"/>
            <a:endParaRPr lang="en-GB" sz="2400" dirty="0"/>
          </a:p>
          <a:p>
            <a:pPr algn="just"/>
            <a:r>
              <a:rPr lang="en-GB" sz="2400" dirty="0"/>
              <a:t>Durch den Einsatz digitaler Marketingstrategien können nachhaltige Unternehmen ihre Wirkung verstärken und zum Handeln für eine nachhaltigere Zukunft inspirieren.</a:t>
            </a:r>
            <a:endParaRPr lang="en-US" sz="2400" dirty="0"/>
          </a:p>
        </p:txBody>
      </p:sp>
      <p:pic>
        <p:nvPicPr>
          <p:cNvPr id="2" name="Picture Placeholder 8">
            <a:extLst>
              <a:ext uri="{FF2B5EF4-FFF2-40B4-BE49-F238E27FC236}">
                <a16:creationId xmlns:a16="http://schemas.microsoft.com/office/drawing/2014/main" id="{2EF7C082-7CBE-410B-5FE0-B2B0CBA056C8}"/>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2687" r="22687"/>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204952"/>
            <a:ext cx="7012171" cy="1071302"/>
          </a:xfrm>
        </p:spPr>
        <p:txBody>
          <a:bodyPr/>
          <a:lstStyle/>
          <a:p>
            <a:r>
              <a:rPr lang="en-GB" dirty="0"/>
              <a:t>DIE BEDEUTUNG DES DIGITALEN MARKETINGS</a:t>
            </a:r>
            <a:endParaRPr lang="en-US" dirty="0"/>
          </a:p>
        </p:txBody>
      </p:sp>
    </p:spTree>
    <p:extLst>
      <p:ext uri="{BB962C8B-B14F-4D97-AF65-F5344CB8AC3E}">
        <p14:creationId xmlns:p14="http://schemas.microsoft.com/office/powerpoint/2010/main" val="24222391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614105"/>
          </a:xfrm>
        </p:spPr>
        <p:txBody>
          <a:bodyPr/>
          <a:lstStyle/>
          <a:p>
            <a:r>
              <a:rPr lang="en-US" dirty="0"/>
              <a:t>ZIELGRUPPEN WIRKSAM ERREICH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711354"/>
            <a:ext cx="4939670" cy="4266079"/>
          </a:xfrm>
        </p:spPr>
        <p:txBody>
          <a:bodyPr/>
          <a:lstStyle/>
          <a:p>
            <a:pPr algn="just"/>
            <a:r>
              <a:rPr lang="en-GB" sz="1800" dirty="0"/>
              <a:t>Digitale Marketingkanäle wie soziale Medien </a:t>
            </a:r>
            <a:r>
              <a:rPr lang="en-IE" sz="1800" dirty="0"/>
              <a:t>(z. B. </a:t>
            </a:r>
            <a:r>
              <a:rPr lang="en-IE" sz="1800" b="1" dirty="0">
                <a:hlinkClick r:id="rId2"/>
              </a:rPr>
              <a:t>Facebook</a:t>
            </a:r>
            <a:r>
              <a:rPr lang="en-IE" sz="1800" b="1" dirty="0"/>
              <a:t>, </a:t>
            </a:r>
            <a:r>
              <a:rPr lang="en-IE" sz="1800" b="1" dirty="0">
                <a:hlinkClick r:id="rId3"/>
              </a:rPr>
              <a:t>Instagram</a:t>
            </a:r>
            <a:r>
              <a:rPr lang="en-IE" sz="1800" b="1" dirty="0"/>
              <a:t>, </a:t>
            </a:r>
            <a:r>
              <a:rPr lang="en-IE" sz="1800" b="1" dirty="0">
                <a:hlinkClick r:id="rId4"/>
              </a:rPr>
              <a:t>Twitter/X</a:t>
            </a:r>
            <a:r>
              <a:rPr lang="en-IE" sz="1800" dirty="0"/>
              <a:t>)</a:t>
            </a:r>
            <a:r>
              <a:rPr lang="en-GB" sz="1800" dirty="0"/>
              <a:t>, E-Mail-Marketing und SEO bieten effiziente Möglichkeiten, mit den Verbrauchern in Kontakt zu treten. </a:t>
            </a:r>
          </a:p>
          <a:p>
            <a:pPr algn="just"/>
            <a:endParaRPr lang="en-GB" sz="800" dirty="0"/>
          </a:p>
          <a:p>
            <a:pPr algn="just"/>
            <a:r>
              <a:rPr lang="en-GB" sz="1800" dirty="0"/>
              <a:t>Mit Tools wie </a:t>
            </a:r>
            <a:r>
              <a:rPr lang="en-GB" sz="1800" b="1" i="1" dirty="0">
                <a:hlinkClick r:id="rId5"/>
              </a:rPr>
              <a:t>Facebook Business Manager </a:t>
            </a:r>
            <a:r>
              <a:rPr lang="en-GB" sz="1800" dirty="0"/>
              <a:t>und </a:t>
            </a:r>
            <a:r>
              <a:rPr lang="en-GB" sz="1800" b="1" i="1" dirty="0">
                <a:hlinkClick r:id="rId6"/>
              </a:rPr>
              <a:t>Mailchimp </a:t>
            </a:r>
            <a:r>
              <a:rPr lang="en-GB" sz="1800" dirty="0"/>
              <a:t>können Unternehmen ihre Zielgruppen auf der Grundlage von demografischen Daten, Interessen und Verhaltensweisen präzise ansprechen und sicherstellen, dass ihre Botschaften mit den Werten der Nachhaltigkeit übereinstimmen. </a:t>
            </a:r>
          </a:p>
          <a:p>
            <a:pPr algn="just"/>
            <a:endParaRPr lang="en-GB" sz="800" dirty="0"/>
          </a:p>
          <a:p>
            <a:pPr algn="just"/>
            <a:r>
              <a:rPr lang="en-GB" sz="1800" dirty="0"/>
              <a:t>Dieser gezielte Ansatz erhöht die Wirkung von Marketingmaßnahmen und steigert das Engagement und die Konversion umweltbewusster Verbraucher.</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241501" y="5105333"/>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pic>
        <p:nvPicPr>
          <p:cNvPr id="2" name="Picture Placeholder 4" descr="Pink neon hashtag notification">
            <a:extLst>
              <a:ext uri="{FF2B5EF4-FFF2-40B4-BE49-F238E27FC236}">
                <a16:creationId xmlns:a16="http://schemas.microsoft.com/office/drawing/2014/main" id="{A7B3A946-29CA-ED5A-47B2-09FB0BDCE655}"/>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l="23823" r="23823"/>
          <a:stretch/>
        </p:blipFill>
        <p:spPr>
          <a:xfrm>
            <a:off x="0" y="0"/>
            <a:ext cx="5875338" cy="6858000"/>
          </a:xfrm>
        </p:spPr>
      </p:pic>
    </p:spTree>
    <p:extLst>
      <p:ext uri="{BB962C8B-B14F-4D97-AF65-F5344CB8AC3E}">
        <p14:creationId xmlns:p14="http://schemas.microsoft.com/office/powerpoint/2010/main" val="3996798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D7034C5-9581-55FF-6116-2925ECD39B59}"/>
              </a:ext>
            </a:extLst>
          </p:cNvPr>
          <p:cNvGraphicFramePr>
            <a:graphicFrameLocks noChangeAspect="1"/>
          </p:cNvGraphicFramePr>
          <p:nvPr>
            <p:custDataLst>
              <p:tags r:id="rId1"/>
            </p:custDataLst>
            <p:extLst>
              <p:ext uri="{D42A27DB-BD31-4B8C-83A1-F6EECF244321}">
                <p14:modId xmlns:p14="http://schemas.microsoft.com/office/powerpoint/2010/main" val="311022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Schoolboy with laptop in robotics class">
            <a:extLst>
              <a:ext uri="{FF2B5EF4-FFF2-40B4-BE49-F238E27FC236}">
                <a16:creationId xmlns:a16="http://schemas.microsoft.com/office/drawing/2014/main" id="{E27EB6EF-B2A3-60D9-D2BC-F269E9A781C2}"/>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614105"/>
          </a:xfrm>
        </p:spPr>
        <p:txBody>
          <a:bodyPr/>
          <a:lstStyle/>
          <a:p>
            <a:r>
              <a:rPr lang="en-US" sz="3200" dirty="0"/>
              <a:t>VERMITTLUNG VON NACHHALTIGKEITSWERT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711354"/>
            <a:ext cx="4939670" cy="4266079"/>
          </a:xfrm>
        </p:spPr>
        <p:txBody>
          <a:bodyPr/>
          <a:lstStyle/>
          <a:p>
            <a:pPr algn="just"/>
            <a:r>
              <a:rPr lang="en-GB" sz="1800" dirty="0"/>
              <a:t>Das digitale Marketing bietet Unternehmen eine Plattform, um ihre Nachhaltigkeitsinitiativen und -werte einem breiten Publikum vorzustellen. </a:t>
            </a:r>
          </a:p>
          <a:p>
            <a:pPr algn="just"/>
            <a:endParaRPr lang="en-GB" sz="1800" dirty="0"/>
          </a:p>
          <a:p>
            <a:pPr algn="just"/>
            <a:r>
              <a:rPr lang="en-GB" sz="1800" dirty="0"/>
              <a:t>Auf Plattformen wie </a:t>
            </a:r>
            <a:r>
              <a:rPr lang="en-GB" sz="1800" b="1" i="1" dirty="0"/>
              <a:t>Instagram </a:t>
            </a:r>
            <a:r>
              <a:rPr lang="en-GB" sz="1800" dirty="0"/>
              <a:t>können Unternehmen überzeugende Inhalte und Geschichten teilen, die ihr Engagement für Nachhaltigkeit unterstreichen. </a:t>
            </a:r>
          </a:p>
          <a:p>
            <a:pPr algn="just"/>
            <a:endParaRPr lang="en-GB" sz="1800" dirty="0"/>
          </a:p>
          <a:p>
            <a:pPr algn="just"/>
            <a:r>
              <a:rPr lang="en-GB" sz="1800" dirty="0"/>
              <a:t>Indem sie ihren Weg zur Nachhaltigkeit authentisch kommunizieren und Maßnahmen aufzeigen, können Unternehmen bei umweltbewussten Verbrauchern Glaubwürdigkeit und Vertrauen aufbauen und so eine langfristige Loyalität und Befürwortung fördern.</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179815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9BEE06-D870-9CB1-05FC-1B7687F04931}"/>
              </a:ext>
            </a:extLst>
          </p:cNvPr>
          <p:cNvGraphicFramePr>
            <a:graphicFrameLocks noChangeAspect="1"/>
          </p:cNvGraphicFramePr>
          <p:nvPr>
            <p:custDataLst>
              <p:tags r:id="rId1"/>
            </p:custDataLst>
            <p:extLst>
              <p:ext uri="{D42A27DB-BD31-4B8C-83A1-F6EECF244321}">
                <p14:modId xmlns:p14="http://schemas.microsoft.com/office/powerpoint/2010/main" val="391753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Placeholder 4" descr="Businessman using digital tablet in meeting">
            <a:extLst>
              <a:ext uri="{FF2B5EF4-FFF2-40B4-BE49-F238E27FC236}">
                <a16:creationId xmlns:a16="http://schemas.microsoft.com/office/drawing/2014/main" id="{E2E9B95A-5587-E7DF-8BB6-3D7F7C576704}"/>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614105"/>
          </a:xfrm>
        </p:spPr>
        <p:txBody>
          <a:bodyPr/>
          <a:lstStyle/>
          <a:p>
            <a:r>
              <a:rPr lang="en-US" dirty="0"/>
              <a:t>AUFBAU VON MARKENBEWUSSTSEI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452687"/>
            <a:ext cx="4939670" cy="4266079"/>
          </a:xfrm>
        </p:spPr>
        <p:txBody>
          <a:bodyPr/>
          <a:lstStyle/>
          <a:p>
            <a:pPr algn="just"/>
            <a:endParaRPr lang="en-GB" sz="2000" dirty="0"/>
          </a:p>
          <a:p>
            <a:pPr algn="just"/>
            <a:r>
              <a:rPr lang="en-GB" sz="2000" dirty="0"/>
              <a:t>Tools wie </a:t>
            </a:r>
            <a:r>
              <a:rPr lang="en-GB" sz="2000" b="1" i="1" dirty="0">
                <a:hlinkClick r:id="rId7"/>
              </a:rPr>
              <a:t>Hootsuite </a:t>
            </a:r>
            <a:r>
              <a:rPr lang="en-GB" sz="2000" dirty="0"/>
              <a:t>und </a:t>
            </a:r>
            <a:r>
              <a:rPr lang="en-GB" sz="2000" b="1" i="1" dirty="0">
                <a:hlinkClick r:id="rId8"/>
              </a:rPr>
              <a:t>Buffer </a:t>
            </a:r>
            <a:r>
              <a:rPr lang="en-GB" sz="2000" dirty="0"/>
              <a:t>ermöglichen es Unternehmen, ihre digitalen Marketingaktivitäten über verschiedene Plattformen hinweg zu optimieren und so die Konsistenz und Kohärenz ihrer Markenbotschaften zu gewährleisten. </a:t>
            </a:r>
          </a:p>
          <a:p>
            <a:pPr algn="just"/>
            <a:endParaRPr lang="en-GB" sz="2000" dirty="0"/>
          </a:p>
          <a:p>
            <a:pPr algn="just"/>
            <a:r>
              <a:rPr lang="en-GB" sz="2000" dirty="0"/>
              <a:t>Durch die konsequente Weitergabe wertvoller Inhalte, den Austausch mit ihrem Publikum und die Teilnahme an relevanten Gesprächen können Unternehmen ihre Markenpräsenz verbessern und sich als Vorreiter in Sachen Nachhaltigkeit positionieren, die Bekanntheit steigern und neue Kunden anziehen.</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1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02484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D08E74D-8824-1D45-92D0-C558923AA8CC}"/>
              </a:ext>
            </a:extLst>
          </p:cNvPr>
          <p:cNvSpPr>
            <a:spLocks noGrp="1"/>
          </p:cNvSpPr>
          <p:nvPr>
            <p:ph type="body" sz="quarter" idx="11"/>
          </p:nvPr>
        </p:nvSpPr>
        <p:spPr/>
        <p:txBody>
          <a:bodyPr/>
          <a:lstStyle/>
          <a:p>
            <a:r>
              <a:rPr lang="en-US" dirty="0"/>
              <a:t>01</a:t>
            </a:r>
          </a:p>
        </p:txBody>
      </p:sp>
      <p:sp>
        <p:nvSpPr>
          <p:cNvPr id="18" name="Text Placeholder 17">
            <a:extLst>
              <a:ext uri="{FF2B5EF4-FFF2-40B4-BE49-F238E27FC236}">
                <a16:creationId xmlns:a16="http://schemas.microsoft.com/office/drawing/2014/main" id="{5BD3EE41-58A4-F347-B487-F6E6A4B2A74A}"/>
              </a:ext>
            </a:extLst>
          </p:cNvPr>
          <p:cNvSpPr>
            <a:spLocks noGrp="1"/>
          </p:cNvSpPr>
          <p:nvPr>
            <p:ph type="body" sz="quarter" idx="49"/>
          </p:nvPr>
        </p:nvSpPr>
        <p:spPr>
          <a:xfrm>
            <a:off x="3567807" y="2444488"/>
            <a:ext cx="6600951" cy="136947"/>
          </a:xfrm>
        </p:spPr>
        <p:txBody>
          <a:bodyPr/>
          <a:lstStyle/>
          <a:p>
            <a:r>
              <a:rPr lang="en-US" dirty="0"/>
              <a:t>Einführung in Marktanalyse und digitales Marketing</a:t>
            </a:r>
          </a:p>
        </p:txBody>
      </p:sp>
      <p:sp>
        <p:nvSpPr>
          <p:cNvPr id="10" name="Text Placeholder 9">
            <a:extLst>
              <a:ext uri="{FF2B5EF4-FFF2-40B4-BE49-F238E27FC236}">
                <a16:creationId xmlns:a16="http://schemas.microsoft.com/office/drawing/2014/main" id="{9FF91A7C-8453-734D-8C11-8B904D12FD0D}"/>
              </a:ext>
            </a:extLst>
          </p:cNvPr>
          <p:cNvSpPr>
            <a:spLocks noGrp="1"/>
          </p:cNvSpPr>
          <p:nvPr>
            <p:ph type="body" sz="quarter" idx="13"/>
          </p:nvPr>
        </p:nvSpPr>
        <p:spPr/>
        <p:txBody>
          <a:bodyPr/>
          <a:lstStyle/>
          <a:p>
            <a:r>
              <a:rPr lang="en-US" dirty="0"/>
              <a:t>02</a:t>
            </a:r>
          </a:p>
        </p:txBody>
      </p:sp>
      <p:sp>
        <p:nvSpPr>
          <p:cNvPr id="11" name="Text Placeholder 10">
            <a:extLst>
              <a:ext uri="{FF2B5EF4-FFF2-40B4-BE49-F238E27FC236}">
                <a16:creationId xmlns:a16="http://schemas.microsoft.com/office/drawing/2014/main" id="{24ED337C-F64E-DA49-AD56-28A14BCEEFB2}"/>
              </a:ext>
            </a:extLst>
          </p:cNvPr>
          <p:cNvSpPr>
            <a:spLocks noGrp="1"/>
          </p:cNvSpPr>
          <p:nvPr>
            <p:ph type="body" sz="quarter" idx="14"/>
          </p:nvPr>
        </p:nvSpPr>
        <p:spPr/>
        <p:txBody>
          <a:bodyPr/>
          <a:lstStyle/>
          <a:p>
            <a:r>
              <a:rPr lang="en-US" dirty="0"/>
              <a:t>Marktanalyse &amp; nachhaltige Chance</a:t>
            </a:r>
          </a:p>
        </p:txBody>
      </p:sp>
      <p:sp>
        <p:nvSpPr>
          <p:cNvPr id="12" name="Text Placeholder 11">
            <a:extLst>
              <a:ext uri="{FF2B5EF4-FFF2-40B4-BE49-F238E27FC236}">
                <a16:creationId xmlns:a16="http://schemas.microsoft.com/office/drawing/2014/main" id="{BF5B6173-46F8-114D-AC3C-D521B40B69DA}"/>
              </a:ext>
            </a:extLst>
          </p:cNvPr>
          <p:cNvSpPr>
            <a:spLocks noGrp="1"/>
          </p:cNvSpPr>
          <p:nvPr>
            <p:ph type="body" sz="quarter" idx="15"/>
          </p:nvPr>
        </p:nvSpPr>
        <p:spPr/>
        <p:txBody>
          <a:bodyPr/>
          <a:lstStyle/>
          <a:p>
            <a:r>
              <a:rPr lang="en-US" dirty="0"/>
              <a:t>03</a:t>
            </a:r>
          </a:p>
        </p:txBody>
      </p:sp>
      <p:sp>
        <p:nvSpPr>
          <p:cNvPr id="14" name="Text Placeholder 13">
            <a:extLst>
              <a:ext uri="{FF2B5EF4-FFF2-40B4-BE49-F238E27FC236}">
                <a16:creationId xmlns:a16="http://schemas.microsoft.com/office/drawing/2014/main" id="{67C331F7-5757-6641-9BBF-CD38714CB570}"/>
              </a:ext>
            </a:extLst>
          </p:cNvPr>
          <p:cNvSpPr>
            <a:spLocks noGrp="1"/>
          </p:cNvSpPr>
          <p:nvPr>
            <p:ph type="body" sz="quarter" idx="19"/>
          </p:nvPr>
        </p:nvSpPr>
        <p:spPr/>
        <p:txBody>
          <a:bodyPr/>
          <a:lstStyle/>
          <a:p>
            <a:r>
              <a:rPr lang="en-US" dirty="0"/>
              <a:t>Die Bedeutung des digitalen Marketings</a:t>
            </a:r>
          </a:p>
        </p:txBody>
      </p:sp>
      <p:sp>
        <p:nvSpPr>
          <p:cNvPr id="13" name="Text Placeholder 12">
            <a:extLst>
              <a:ext uri="{FF2B5EF4-FFF2-40B4-BE49-F238E27FC236}">
                <a16:creationId xmlns:a16="http://schemas.microsoft.com/office/drawing/2014/main" id="{52310EBE-4E3C-B445-BD97-7B2640FD7918}"/>
              </a:ext>
            </a:extLst>
          </p:cNvPr>
          <p:cNvSpPr>
            <a:spLocks noGrp="1"/>
          </p:cNvSpPr>
          <p:nvPr>
            <p:ph type="body" sz="quarter" idx="17"/>
          </p:nvPr>
        </p:nvSpPr>
        <p:spPr/>
        <p:txBody>
          <a:bodyPr/>
          <a:lstStyle/>
          <a:p>
            <a:r>
              <a:rPr lang="en-US" dirty="0"/>
              <a:t>04</a:t>
            </a:r>
          </a:p>
        </p:txBody>
      </p:sp>
      <p:sp>
        <p:nvSpPr>
          <p:cNvPr id="15" name="Text Placeholder 14">
            <a:extLst>
              <a:ext uri="{FF2B5EF4-FFF2-40B4-BE49-F238E27FC236}">
                <a16:creationId xmlns:a16="http://schemas.microsoft.com/office/drawing/2014/main" id="{A3B016CE-DAB6-9640-B44D-A78DE1197BA2}"/>
              </a:ext>
            </a:extLst>
          </p:cNvPr>
          <p:cNvSpPr>
            <a:spLocks noGrp="1"/>
          </p:cNvSpPr>
          <p:nvPr>
            <p:ph type="body" sz="quarter" idx="20"/>
          </p:nvPr>
        </p:nvSpPr>
        <p:spPr/>
        <p:txBody>
          <a:bodyPr/>
          <a:lstStyle/>
          <a:p>
            <a:r>
              <a:rPr lang="en-US" dirty="0"/>
              <a:t>Strategien für eine wirksame Online-Präsenz</a:t>
            </a:r>
          </a:p>
        </p:txBody>
      </p:sp>
      <p:sp>
        <p:nvSpPr>
          <p:cNvPr id="16" name="Text Placeholder 15">
            <a:extLst>
              <a:ext uri="{FF2B5EF4-FFF2-40B4-BE49-F238E27FC236}">
                <a16:creationId xmlns:a16="http://schemas.microsoft.com/office/drawing/2014/main" id="{1337B424-7DC9-8345-8319-760211015880}"/>
              </a:ext>
            </a:extLst>
          </p:cNvPr>
          <p:cNvSpPr>
            <a:spLocks noGrp="1"/>
          </p:cNvSpPr>
          <p:nvPr>
            <p:ph type="body" sz="quarter" idx="21"/>
          </p:nvPr>
        </p:nvSpPr>
        <p:spPr/>
        <p:txBody>
          <a:bodyPr/>
          <a:lstStyle/>
          <a:p>
            <a:r>
              <a:rPr lang="en-US" dirty="0"/>
              <a:t>05</a:t>
            </a:r>
          </a:p>
        </p:txBody>
      </p:sp>
      <p:sp>
        <p:nvSpPr>
          <p:cNvPr id="17" name="Text Placeholder 16">
            <a:extLst>
              <a:ext uri="{FF2B5EF4-FFF2-40B4-BE49-F238E27FC236}">
                <a16:creationId xmlns:a16="http://schemas.microsoft.com/office/drawing/2014/main" id="{EF33781D-C6EB-6446-9C85-FB2000012C60}"/>
              </a:ext>
            </a:extLst>
          </p:cNvPr>
          <p:cNvSpPr>
            <a:spLocks noGrp="1"/>
          </p:cNvSpPr>
          <p:nvPr>
            <p:ph type="body" sz="quarter" idx="22"/>
          </p:nvPr>
        </p:nvSpPr>
        <p:spPr/>
        <p:txBody>
          <a:bodyPr/>
          <a:lstStyle/>
          <a:p>
            <a:r>
              <a:rPr lang="en-US" dirty="0"/>
              <a:t>Geschichtenerzählen</a:t>
            </a:r>
          </a:p>
        </p:txBody>
      </p:sp>
      <p:sp>
        <p:nvSpPr>
          <p:cNvPr id="19" name="Text Placeholder 18">
            <a:extLst>
              <a:ext uri="{FF2B5EF4-FFF2-40B4-BE49-F238E27FC236}">
                <a16:creationId xmlns:a16="http://schemas.microsoft.com/office/drawing/2014/main" id="{84367E26-76EA-4E40-9D99-7C3977776A6D}"/>
              </a:ext>
            </a:extLst>
          </p:cNvPr>
          <p:cNvSpPr>
            <a:spLocks noGrp="1"/>
          </p:cNvSpPr>
          <p:nvPr>
            <p:ph type="body" sz="quarter" idx="51"/>
          </p:nvPr>
        </p:nvSpPr>
        <p:spPr/>
        <p:txBody>
          <a:bodyPr/>
          <a:lstStyle/>
          <a:p>
            <a:r>
              <a:rPr lang="en-US" dirty="0"/>
              <a:t>06</a:t>
            </a:r>
          </a:p>
        </p:txBody>
      </p:sp>
      <p:sp>
        <p:nvSpPr>
          <p:cNvPr id="20" name="Text Placeholder 19">
            <a:extLst>
              <a:ext uri="{FF2B5EF4-FFF2-40B4-BE49-F238E27FC236}">
                <a16:creationId xmlns:a16="http://schemas.microsoft.com/office/drawing/2014/main" id="{E794E5C9-0EA8-BF47-A0AF-E0B7D9858292}"/>
              </a:ext>
            </a:extLst>
          </p:cNvPr>
          <p:cNvSpPr>
            <a:spLocks noGrp="1"/>
          </p:cNvSpPr>
          <p:nvPr>
            <p:ph type="body" sz="quarter" idx="52"/>
          </p:nvPr>
        </p:nvSpPr>
        <p:spPr/>
        <p:txBody>
          <a:bodyPr/>
          <a:lstStyle/>
          <a:p>
            <a:r>
              <a:rPr lang="en-US" dirty="0"/>
              <a:t>Berichterstattung zur Nachhaltigkeit</a:t>
            </a:r>
          </a:p>
        </p:txBody>
      </p:sp>
      <p:sp>
        <p:nvSpPr>
          <p:cNvPr id="23" name="Text Placeholder 22">
            <a:extLst>
              <a:ext uri="{FF2B5EF4-FFF2-40B4-BE49-F238E27FC236}">
                <a16:creationId xmlns:a16="http://schemas.microsoft.com/office/drawing/2014/main" id="{2A918B5F-90D1-504A-8107-BD0E2D1B59B1}"/>
              </a:ext>
            </a:extLst>
          </p:cNvPr>
          <p:cNvSpPr>
            <a:spLocks noGrp="1"/>
          </p:cNvSpPr>
          <p:nvPr>
            <p:ph type="body" sz="quarter" idx="61"/>
          </p:nvPr>
        </p:nvSpPr>
        <p:spPr/>
        <p:txBody>
          <a:bodyPr/>
          <a:lstStyle/>
          <a:p>
            <a:r>
              <a:rPr lang="en-US" dirty="0"/>
              <a:t>INHALTSVERZEICHNIS</a:t>
            </a:r>
          </a:p>
        </p:txBody>
      </p:sp>
    </p:spTree>
    <p:extLst>
      <p:ext uri="{BB962C8B-B14F-4D97-AF65-F5344CB8AC3E}">
        <p14:creationId xmlns:p14="http://schemas.microsoft.com/office/powerpoint/2010/main" val="4010686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47AE0E1-DE27-3B1E-E254-57D8AC3A4EFB}"/>
              </a:ext>
            </a:extLst>
          </p:cNvPr>
          <p:cNvGraphicFramePr>
            <a:graphicFrameLocks noChangeAspect="1"/>
          </p:cNvGraphicFramePr>
          <p:nvPr>
            <p:custDataLst>
              <p:tags r:id="rId1"/>
            </p:custDataLst>
            <p:extLst>
              <p:ext uri="{D42A27DB-BD31-4B8C-83A1-F6EECF244321}">
                <p14:modId xmlns:p14="http://schemas.microsoft.com/office/powerpoint/2010/main" val="265870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236E7363-74B0-6A19-E793-EB70562FAEFD}"/>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5695" r="25695"/>
          <a:stretch/>
        </p:blipFill>
        <p:spPr>
          <a:xfrm>
            <a:off x="884238" y="0"/>
            <a:ext cx="4994275" cy="6858000"/>
          </a:xfrm>
        </p:spPr>
      </p:pic>
      <p:sp>
        <p:nvSpPr>
          <p:cNvPr id="3" name="Text Placeholder 2">
            <a:extLst>
              <a:ext uri="{FF2B5EF4-FFF2-40B4-BE49-F238E27FC236}">
                <a16:creationId xmlns:a16="http://schemas.microsoft.com/office/drawing/2014/main" id="{07E69AD5-1992-0B4C-FD4F-9985BEB3FCE9}"/>
              </a:ext>
            </a:extLst>
          </p:cNvPr>
          <p:cNvSpPr>
            <a:spLocks noGrp="1"/>
          </p:cNvSpPr>
          <p:nvPr>
            <p:ph type="body" sz="quarter" idx="30"/>
          </p:nvPr>
        </p:nvSpPr>
        <p:spPr>
          <a:xfrm>
            <a:off x="4890795" y="444618"/>
            <a:ext cx="6776598" cy="1137048"/>
          </a:xfrm>
        </p:spPr>
        <p:txBody>
          <a:bodyPr/>
          <a:lstStyle/>
          <a:p>
            <a:r>
              <a:rPr lang="en-IE" dirty="0"/>
              <a:t>Best Practice:</a:t>
            </a:r>
            <a:br>
              <a:rPr lang="en-IE" dirty="0"/>
            </a:br>
            <a:r>
              <a:rPr lang="en-IE" sz="3600" kern="100" dirty="0">
                <a:effectLst/>
                <a:latin typeface="Calibri" panose="020F0502020204030204" pitchFamily="34" charset="0"/>
                <a:ea typeface="Calibri" panose="020F0502020204030204" pitchFamily="34" charset="0"/>
                <a:cs typeface="Times New Roman" panose="02020603050405020304" pitchFamily="18" charset="0"/>
              </a:rPr>
              <a:t>BIASOL</a:t>
            </a:r>
            <a:endParaRPr lang="en-IE" dirty="0"/>
          </a:p>
        </p:txBody>
      </p:sp>
      <p:sp>
        <p:nvSpPr>
          <p:cNvPr id="4" name="Text Placeholder 3">
            <a:extLst>
              <a:ext uri="{FF2B5EF4-FFF2-40B4-BE49-F238E27FC236}">
                <a16:creationId xmlns:a16="http://schemas.microsoft.com/office/drawing/2014/main" id="{8AA53CC8-DCDA-595D-9675-8C3071D26F2A}"/>
              </a:ext>
            </a:extLst>
          </p:cNvPr>
          <p:cNvSpPr>
            <a:spLocks noGrp="1"/>
          </p:cNvSpPr>
          <p:nvPr>
            <p:ph type="body" sz="quarter" idx="48"/>
          </p:nvPr>
        </p:nvSpPr>
        <p:spPr>
          <a:xfrm>
            <a:off x="6417578" y="2026284"/>
            <a:ext cx="5100506" cy="4023993"/>
          </a:xfrm>
        </p:spPr>
        <p:txBody>
          <a:bodyPr/>
          <a:lstStyle/>
          <a:p>
            <a:pPr algn="just">
              <a:lnSpc>
                <a:spcPct val="107000"/>
              </a:lnSpc>
              <a:spcAft>
                <a:spcPts val="800"/>
              </a:spcAft>
            </a:pP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6">
                  <a:extLst>
                    <a:ext uri="{A12FA001-AC4F-418D-AE19-62706E023703}">
                      <ahyp:hlinkClr xmlns:ahyp="http://schemas.microsoft.com/office/drawing/2018/hyperlinkcolor" val="tx"/>
                    </a:ext>
                  </a:extLst>
                </a:hlinkClick>
              </a:rPr>
              <a:t>Biasol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zeigt effektive Marktanalysen und digitales Marketing für nachhaltige Unternehmungen, indem sie ihre einzigartigen Zero-Waste-Lebensmittelprodukte einsetzen. </a:t>
            </a:r>
          </a:p>
        </p:txBody>
      </p:sp>
      <p:pic>
        <p:nvPicPr>
          <p:cNvPr id="8" name="Picture 7">
            <a:extLst>
              <a:ext uri="{FF2B5EF4-FFF2-40B4-BE49-F238E27FC236}">
                <a16:creationId xmlns:a16="http://schemas.microsoft.com/office/drawing/2014/main" id="{1B1EBFE2-9FD3-7821-456E-B4D075E1040E}"/>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7325840" y="4437776"/>
            <a:ext cx="3069885" cy="1151479"/>
          </a:xfrm>
          <a:prstGeom prst="rect">
            <a:avLst/>
          </a:prstGeom>
        </p:spPr>
      </p:pic>
    </p:spTree>
    <p:extLst>
      <p:ext uri="{BB962C8B-B14F-4D97-AF65-F5344CB8AC3E}">
        <p14:creationId xmlns:p14="http://schemas.microsoft.com/office/powerpoint/2010/main" val="3342976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9D5A215-63CE-AC0E-0948-B12635659CB2}"/>
              </a:ext>
            </a:extLst>
          </p:cNvPr>
          <p:cNvSpPr>
            <a:spLocks noGrp="1"/>
          </p:cNvSpPr>
          <p:nvPr>
            <p:ph type="body" sz="quarter" idx="48"/>
          </p:nvPr>
        </p:nvSpPr>
        <p:spPr>
          <a:xfrm>
            <a:off x="6400801" y="906011"/>
            <a:ext cx="5436066" cy="5595457"/>
          </a:xfrm>
          <a:solidFill>
            <a:schemeClr val="bg1"/>
          </a:solidFill>
        </p:spPr>
        <p:txBody>
          <a:bodyPr/>
          <a:lstStyle/>
          <a:p>
            <a:pPr algn="just">
              <a:lnSpc>
                <a:spcPct val="107000"/>
              </a:lnSpc>
              <a:spcAft>
                <a:spcPts val="10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Das 2020 gegründete Unternehmen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Biasol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verwandelt Biertreber in nahrhafte Zutaten, um der Lebensmittelverschwendung entgegenzuwirken und eine Kreislaufwirtschaft zu fördern.  </a:t>
            </a:r>
          </a:p>
          <a:p>
            <a:pPr algn="just">
              <a:lnSpc>
                <a:spcPct val="107000"/>
              </a:lnSpc>
              <a:spcAft>
                <a:spcPts val="10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hr strategischer Einsatz von digitalem Marketing unterstreicht ihren innovativen Ansatz und steht im Einklang mit den Markttrends, die die Nachhaltigkeit fördern. </a:t>
            </a:r>
          </a:p>
          <a:p>
            <a:pPr algn="just">
              <a:lnSpc>
                <a:spcPct val="107000"/>
              </a:lnSpc>
              <a:spcAft>
                <a:spcPts val="1000"/>
              </a:spcAft>
            </a:pPr>
            <a:r>
              <a:rPr lang="en-IE" sz="2200" dirty="0">
                <a:effectLst/>
                <a:latin typeface="Calibri" panose="020F0502020204030204" pitchFamily="34" charset="0"/>
                <a:ea typeface="Calibri" panose="020F0502020204030204" pitchFamily="34" charset="0"/>
                <a:cs typeface="Times New Roman" panose="02020603050405020304" pitchFamily="18" charset="0"/>
              </a:rPr>
              <a:t>Erfahren Sie in unserem </a:t>
            </a:r>
            <a:r>
              <a:rPr lang="en-IE" sz="2200" b="1" dirty="0">
                <a:effectLst/>
                <a:ea typeface="Calibri" panose="020F0502020204030204" pitchFamily="34" charset="0"/>
                <a:cs typeface="Times New Roman" panose="02020603050405020304" pitchFamily="18" charset="0"/>
                <a:hlinkClick r:id="rId3"/>
              </a:rPr>
              <a:t>Kompendium der Fallstudien</a:t>
            </a:r>
            <a:r>
              <a:rPr lang="en-IE" sz="2200" dirty="0">
                <a:effectLst/>
                <a:latin typeface="Calibri" panose="020F0502020204030204" pitchFamily="34" charset="0"/>
                <a:ea typeface="Calibri" panose="020F0502020204030204" pitchFamily="34" charset="0"/>
                <a:cs typeface="Times New Roman" panose="02020603050405020304" pitchFamily="18" charset="0"/>
              </a:rPr>
              <a:t>, wie die Marktanalyse und die digitalen Marketingstrategien </a:t>
            </a:r>
            <a:r>
              <a:rPr lang="en-IE" sz="2200" b="1"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von Biasol </a:t>
            </a:r>
            <a:r>
              <a:rPr lang="en-IE" sz="2200" dirty="0">
                <a:effectLst/>
                <a:latin typeface="Calibri" panose="020F0502020204030204" pitchFamily="34" charset="0"/>
                <a:ea typeface="Calibri" panose="020F0502020204030204" pitchFamily="34" charset="0"/>
                <a:cs typeface="Times New Roman" panose="02020603050405020304" pitchFamily="18" charset="0"/>
              </a:rPr>
              <a:t>ihre nachhaltigen Lebensmittellösungen vorantreiben</a:t>
            </a:r>
            <a:r>
              <a:rPr lang="en-IE" sz="2200" b="1" dirty="0">
                <a:effectLst/>
                <a:latin typeface="Calibri" panose="020F0502020204030204" pitchFamily="34" charset="0"/>
                <a:ea typeface="Calibri" panose="020F0502020204030204" pitchFamily="34" charset="0"/>
                <a:cs typeface="Times New Roman" panose="02020603050405020304" pitchFamily="18" charset="0"/>
              </a:rPr>
              <a:t>. </a:t>
            </a:r>
            <a:endParaRPr lang="en-IE" sz="2200" b="1"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Placeholder 5" descr="Woman's hand touching wheat in field">
            <a:extLst>
              <a:ext uri="{FF2B5EF4-FFF2-40B4-BE49-F238E27FC236}">
                <a16:creationId xmlns:a16="http://schemas.microsoft.com/office/drawing/2014/main" id="{56E535EE-DCB6-B722-CCBA-DFFD6FEAE44A}"/>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l="17873" r="17873"/>
          <a:stretch/>
        </p:blipFill>
        <p:spPr>
          <a:xfrm>
            <a:off x="0" y="0"/>
            <a:ext cx="5875338" cy="6858000"/>
          </a:xfrm>
        </p:spPr>
      </p:pic>
    </p:spTree>
    <p:extLst>
      <p:ext uri="{BB962C8B-B14F-4D97-AF65-F5344CB8AC3E}">
        <p14:creationId xmlns:p14="http://schemas.microsoft.com/office/powerpoint/2010/main" val="4677036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E574834-4711-20B6-A396-C9155BF63750}"/>
              </a:ext>
            </a:extLst>
          </p:cNvPr>
          <p:cNvGraphicFramePr>
            <a:graphicFrameLocks noChangeAspect="1"/>
          </p:cNvGraphicFramePr>
          <p:nvPr>
            <p:custDataLst>
              <p:tags r:id="rId1"/>
            </p:custDataLst>
            <p:extLst>
              <p:ext uri="{D42A27DB-BD31-4B8C-83A1-F6EECF244321}">
                <p14:modId xmlns:p14="http://schemas.microsoft.com/office/powerpoint/2010/main" val="3499186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C631606-82B0-1503-5AC1-4B5EAEE146EA}"/>
              </a:ext>
            </a:extLst>
          </p:cNvPr>
          <p:cNvSpPr>
            <a:spLocks noGrp="1"/>
          </p:cNvSpPr>
          <p:nvPr>
            <p:ph type="body" sz="quarter" idx="48"/>
          </p:nvPr>
        </p:nvSpPr>
        <p:spPr>
          <a:xfrm>
            <a:off x="5201174" y="1313785"/>
            <a:ext cx="6323606" cy="4515091"/>
          </a:xfrm>
        </p:spPr>
        <p:txBody>
          <a:bodyPr/>
          <a:lstStyle/>
          <a:p>
            <a:pPr algn="just"/>
            <a:r>
              <a:rPr lang="en-GB" sz="1600" b="1" dirty="0"/>
              <a:t>Herausforderung Soziale Medien</a:t>
            </a:r>
          </a:p>
          <a:p>
            <a:pPr algn="just"/>
            <a:r>
              <a:rPr lang="en-GB" sz="1600" b="1" dirty="0"/>
              <a:t>Zielsetzung:</a:t>
            </a:r>
            <a:r>
              <a:rPr lang="en-GB" sz="1600" dirty="0"/>
              <a:t> Erstellen einer interaktiven Social-Media-Challenge zur Förderung einer Nachhaltigkeitsbotschaft.</a:t>
            </a:r>
          </a:p>
          <a:p>
            <a:pPr algn="just"/>
            <a:endParaRPr lang="en-GB" sz="1600" b="1" dirty="0"/>
          </a:p>
          <a:p>
            <a:pPr algn="just"/>
            <a:r>
              <a:rPr lang="en-GB" sz="1600" b="1" dirty="0"/>
              <a:t>Schritte:</a:t>
            </a:r>
            <a:endParaRPr lang="en-GB" sz="1600" dirty="0"/>
          </a:p>
          <a:p>
            <a:pPr algn="just">
              <a:buFont typeface="Arial" panose="020B0604020202020204" pitchFamily="34" charset="0"/>
              <a:buChar char="•"/>
            </a:pPr>
            <a:r>
              <a:rPr lang="en-GB" sz="1600" b="1" dirty="0"/>
              <a:t>Bilden Sie Teams:</a:t>
            </a:r>
            <a:r>
              <a:rPr lang="en-GB" sz="1600" dirty="0"/>
              <a:t> Teilen Sie sich in kleine Gruppen auf.</a:t>
            </a:r>
          </a:p>
          <a:p>
            <a:pPr algn="just">
              <a:buFont typeface="Arial" panose="020B0604020202020204" pitchFamily="34" charset="0"/>
              <a:buChar char="•"/>
            </a:pPr>
            <a:r>
              <a:rPr lang="en-GB" sz="1600" b="1" dirty="0"/>
              <a:t>Entwickeln Sie eine Herausforderung: </a:t>
            </a:r>
            <a:r>
              <a:rPr lang="en-GB" sz="1600" dirty="0"/>
              <a:t>Jedes Team denkt sich eine einfache, unterhaltsame Herausforderung zum Thema Nachhaltigkeit aus (z. B. eine Herausforderung zum Thema Recycling-Tipps).</a:t>
            </a:r>
          </a:p>
          <a:p>
            <a:pPr algn="just">
              <a:buFont typeface="Arial" panose="020B0604020202020204" pitchFamily="34" charset="0"/>
              <a:buChar char="•"/>
            </a:pPr>
            <a:r>
              <a:rPr lang="en-GB" sz="1600" b="1" dirty="0"/>
              <a:t>Inhalte erstellen:</a:t>
            </a:r>
            <a:r>
              <a:rPr lang="en-GB" sz="1600" dirty="0"/>
              <a:t> Verwenden Sie Tools wie Canva, um Beiträge und Grafiken für die Herausforderung zu entwerfen.</a:t>
            </a:r>
          </a:p>
          <a:p>
            <a:pPr algn="just">
              <a:buFont typeface="Arial" panose="020B0604020202020204" pitchFamily="34" charset="0"/>
              <a:buChar char="•"/>
            </a:pPr>
            <a:r>
              <a:rPr lang="en-GB" sz="1600" b="1" dirty="0"/>
              <a:t>Werbung planen:</a:t>
            </a:r>
            <a:r>
              <a:rPr lang="en-GB" sz="1600" dirty="0"/>
              <a:t> Skizzieren Sie eine Strategie, um den Wettbewerb auf den Plattformen der sozialen Medien zu bewerben.</a:t>
            </a:r>
          </a:p>
          <a:p>
            <a:pPr algn="just">
              <a:buFont typeface="Arial" panose="020B0604020202020204" pitchFamily="34" charset="0"/>
              <a:buChar char="•"/>
            </a:pPr>
            <a:r>
              <a:rPr lang="en-GB" sz="1600" b="1" dirty="0"/>
              <a:t>Präsentieren und teilen:</a:t>
            </a:r>
            <a:r>
              <a:rPr lang="en-GB" sz="1600" dirty="0"/>
              <a:t> Teilen Sie der Klasse die Ideen für die Herausforderung mit.</a:t>
            </a:r>
          </a:p>
          <a:p>
            <a:pPr algn="just"/>
            <a:endParaRPr lang="en-GB" sz="1600" b="1" dirty="0"/>
          </a:p>
          <a:p>
            <a:pPr algn="just"/>
            <a:r>
              <a:rPr lang="en-GB" sz="1600" b="1" dirty="0"/>
              <a:t>Ergebnis:</a:t>
            </a:r>
            <a:r>
              <a:rPr lang="en-GB" sz="1600" dirty="0"/>
              <a:t> Die Teilnehmer werden lernen, ansprechende Inhalte zu erstellen und Werbestrategien zu planen.</a:t>
            </a:r>
          </a:p>
          <a:p>
            <a:pPr algn="just"/>
            <a:endParaRPr lang="en-IE" sz="1600" dirty="0"/>
          </a:p>
        </p:txBody>
      </p:sp>
      <p:pic>
        <p:nvPicPr>
          <p:cNvPr id="2" name="Picture Placeholder 5" descr="Two cute robots">
            <a:extLst>
              <a:ext uri="{FF2B5EF4-FFF2-40B4-BE49-F238E27FC236}">
                <a16:creationId xmlns:a16="http://schemas.microsoft.com/office/drawing/2014/main" id="{5492D223-27C7-0884-50ED-269AA7673655}"/>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103188" y="0"/>
            <a:ext cx="4994276" cy="6858000"/>
          </a:xfrm>
        </p:spPr>
      </p:pic>
      <p:sp>
        <p:nvSpPr>
          <p:cNvPr id="3" name="Text Placeholder 2">
            <a:extLst>
              <a:ext uri="{FF2B5EF4-FFF2-40B4-BE49-F238E27FC236}">
                <a16:creationId xmlns:a16="http://schemas.microsoft.com/office/drawing/2014/main" id="{1B5CFC1C-8022-58FD-7453-5DFCA779FCB5}"/>
              </a:ext>
            </a:extLst>
          </p:cNvPr>
          <p:cNvSpPr>
            <a:spLocks noGrp="1"/>
          </p:cNvSpPr>
          <p:nvPr>
            <p:ph type="body" sz="quarter" idx="30"/>
          </p:nvPr>
        </p:nvSpPr>
        <p:spPr>
          <a:xfrm>
            <a:off x="4513290" y="235459"/>
            <a:ext cx="6776598" cy="842867"/>
          </a:xfrm>
        </p:spPr>
        <p:txBody>
          <a:bodyPr/>
          <a:lstStyle/>
          <a:p>
            <a:r>
              <a:rPr lang="en-IE" dirty="0"/>
              <a:t>PRAKTISCHE ÜBUNG</a:t>
            </a:r>
          </a:p>
        </p:txBody>
      </p:sp>
    </p:spTree>
    <p:extLst>
      <p:ext uri="{BB962C8B-B14F-4D97-AF65-F5344CB8AC3E}">
        <p14:creationId xmlns:p14="http://schemas.microsoft.com/office/powerpoint/2010/main" val="31385722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dirty="0"/>
              <a:t>SDGS UND ENTRECOMP-ABGLEICH</a:t>
            </a:r>
            <a:endParaRPr lang="en-IE"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0" y="1870746"/>
            <a:ext cx="10483429" cy="4743778"/>
          </a:xfrm>
        </p:spPr>
        <p:txBody>
          <a:bodyPr/>
          <a:lstStyle/>
          <a:p>
            <a:pPr algn="just"/>
            <a:r>
              <a:rPr lang="en-GB" b="1" dirty="0">
                <a:solidFill>
                  <a:srgbClr val="0F486D"/>
                </a:solidFill>
                <a:hlinkClick r:id="rId2">
                  <a:extLst>
                    <a:ext uri="{A12FA001-AC4F-418D-AE19-62706E023703}">
                      <ahyp:hlinkClr xmlns:ahyp="http://schemas.microsoft.com/office/drawing/2018/hyperlinkcolor" val="tx"/>
                    </a:ext>
                  </a:extLst>
                </a:hlinkClick>
              </a:rPr>
              <a:t>SDG 4: Hochwertige Bildung</a:t>
            </a:r>
            <a:r>
              <a:rPr lang="en-GB" b="1" dirty="0"/>
              <a:t>: </a:t>
            </a:r>
            <a:r>
              <a:rPr lang="en-GB" dirty="0"/>
              <a:t>Förderung der Verbreitung von Wissen über digitale Marketingpraktiken und Nachhaltigkeit.</a:t>
            </a:r>
          </a:p>
          <a:p>
            <a:pPr algn="just"/>
            <a:endParaRPr lang="en-GB" dirty="0"/>
          </a:p>
          <a:p>
            <a:pPr algn="just"/>
            <a:r>
              <a:rPr lang="en-GB"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b="1" dirty="0"/>
              <a:t>: </a:t>
            </a:r>
            <a:r>
              <a:rPr lang="en-GB" dirty="0"/>
              <a:t>Sensibilisierung für nachhaltige Produkte und Praktiken durch digitales Marketing.</a:t>
            </a:r>
          </a:p>
          <a:p>
            <a:pPr algn="just"/>
            <a:endParaRPr lang="en-GB" dirty="0"/>
          </a:p>
          <a:p>
            <a:pPr algn="just"/>
            <a:r>
              <a:rPr lang="en-GB" b="1" dirty="0" err="1"/>
              <a:t>EntreComp </a:t>
            </a:r>
            <a:r>
              <a:rPr lang="en-GB" b="1" dirty="0"/>
              <a:t>2.1 Selbstwahrnehmung und Selbstwirksamkeit: </a:t>
            </a:r>
            <a:r>
              <a:rPr lang="en-GB" dirty="0"/>
              <a:t>Das eigene Unternehmen vorantreiben, Verantwortung für die Führung eines Unternehmens übernehmen.</a:t>
            </a:r>
          </a:p>
          <a:p>
            <a:pPr algn="just"/>
            <a:endParaRPr lang="en-GB" dirty="0"/>
          </a:p>
          <a:p>
            <a:pPr algn="just"/>
            <a:r>
              <a:rPr lang="en-GB" b="1" dirty="0" err="1"/>
              <a:t>EntreComp </a:t>
            </a:r>
            <a:r>
              <a:rPr lang="en-GB" b="1" dirty="0"/>
              <a:t>3.1 Die Initiative ergreifen: </a:t>
            </a:r>
            <a:r>
              <a:rPr lang="en-GB" dirty="0"/>
              <a:t>Chancen erkennen, operative Entscheidungen selbständig treffen, strategische Geschäftsentscheidungen treffen.</a:t>
            </a:r>
            <a:endParaRPr lang="en-IE" dirty="0"/>
          </a:p>
        </p:txBody>
      </p:sp>
      <p:pic>
        <p:nvPicPr>
          <p:cNvPr id="4" name="Picture 2">
            <a:extLst>
              <a:ext uri="{FF2B5EF4-FFF2-40B4-BE49-F238E27FC236}">
                <a16:creationId xmlns:a16="http://schemas.microsoft.com/office/drawing/2014/main" id="{CEA9F551-029F-FE4D-4455-F240AD033B9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209400" y="503340"/>
            <a:ext cx="1057013" cy="105701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C5D96DD0-680F-ADFE-9B8C-3DF7A47B10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93143" y="489727"/>
            <a:ext cx="1777572" cy="988548"/>
          </a:xfrm>
          <a:prstGeom prst="rect">
            <a:avLst/>
          </a:prstGeom>
        </p:spPr>
      </p:pic>
    </p:spTree>
    <p:extLst>
      <p:ext uri="{BB962C8B-B14F-4D97-AF65-F5344CB8AC3E}">
        <p14:creationId xmlns:p14="http://schemas.microsoft.com/office/powerpoint/2010/main" val="36816717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015FC7F-4285-32DB-7C85-3D74CA9D9CAE}"/>
              </a:ext>
            </a:extLst>
          </p:cNvPr>
          <p:cNvGraphicFramePr>
            <a:graphicFrameLocks noChangeAspect="1"/>
          </p:cNvGraphicFramePr>
          <p:nvPr>
            <p:custDataLst>
              <p:tags r:id="rId1"/>
            </p:custDataLst>
            <p:extLst>
              <p:ext uri="{D42A27DB-BD31-4B8C-83A1-F6EECF244321}">
                <p14:modId xmlns:p14="http://schemas.microsoft.com/office/powerpoint/2010/main" val="2403365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80ACFC8-5BAC-68DB-C058-BAA52B66A4BC}"/>
              </a:ext>
            </a:extLst>
          </p:cNvPr>
          <p:cNvSpPr>
            <a:spLocks noGrp="1"/>
          </p:cNvSpPr>
          <p:nvPr>
            <p:ph type="body" sz="quarter" idx="48"/>
          </p:nvPr>
        </p:nvSpPr>
        <p:spPr>
          <a:xfrm>
            <a:off x="6484442" y="1986066"/>
            <a:ext cx="4939670" cy="3889855"/>
          </a:xfrm>
        </p:spPr>
        <p:txBody>
          <a:bodyPr/>
          <a:lstStyle/>
          <a:p>
            <a:r>
              <a:rPr lang="en-IE" sz="2200" b="1" dirty="0">
                <a:highlight>
                  <a:srgbClr val="FFFFFF"/>
                </a:highlight>
                <a:latin typeface="var(--artdeco-reset-typography-font-family-sans)"/>
                <a:hlinkClick r:id="rId5"/>
              </a:rPr>
              <a:t>Nachhaltiges digitales Marketing: Erfolg für das Jahr 2024 neu definieren </a:t>
            </a:r>
            <a:endParaRPr lang="en-GB" sz="2200" i="0" dirty="0">
              <a:effectLst/>
              <a:highlight>
                <a:srgbClr val="FFFFFF"/>
              </a:highlight>
              <a:latin typeface="var(--artdeco-reset-typography-font-family-sans)"/>
            </a:endParaRPr>
          </a:p>
          <a:p>
            <a:endParaRPr lang="en-GB" sz="2200" dirty="0">
              <a:highlight>
                <a:srgbClr val="FFFFFF"/>
              </a:highlight>
              <a:latin typeface="var(--artdeco-reset-typography-font-family-sans)"/>
            </a:endParaRPr>
          </a:p>
          <a:p>
            <a:r>
              <a:rPr lang="en-GB" sz="2200" b="1" dirty="0">
                <a:highlight>
                  <a:srgbClr val="FFFFFF"/>
                </a:highlight>
                <a:latin typeface="var(--artdeco-reset-typography-font-family-sans)"/>
                <a:hlinkClick r:id="rId6"/>
              </a:rPr>
              <a:t>Verantwortungsbewusstes Wachstum</a:t>
            </a:r>
            <a:r>
              <a:rPr lang="en-GB" sz="2200" b="1" dirty="0">
                <a:highlight>
                  <a:srgbClr val="FFFFFF"/>
                </a:highlight>
                <a:latin typeface="var(--artdeco-reset-typography-font-family-sans)"/>
              </a:rPr>
              <a:t>: Das Aufkommen nachhaltiger digitaler Marketing-Strategien</a:t>
            </a:r>
            <a:endParaRPr lang="en-GB" sz="2200" dirty="0">
              <a:highlight>
                <a:srgbClr val="FFFFFF"/>
              </a:highlight>
              <a:latin typeface="var(--artdeco-reset-typography-font-family-sans)"/>
            </a:endParaRPr>
          </a:p>
          <a:p>
            <a:endParaRPr lang="en-GB" sz="2200" i="0" dirty="0">
              <a:effectLst/>
              <a:highlight>
                <a:srgbClr val="FFFFFF"/>
              </a:highlight>
              <a:latin typeface="-apple-system"/>
            </a:endParaRPr>
          </a:p>
          <a:p>
            <a:r>
              <a:rPr lang="en-GB" sz="2200" b="1" dirty="0">
                <a:hlinkClick r:id="rId7"/>
              </a:rPr>
              <a:t>Nutzung sozialer Medien zur Untersuchung der Nachhaltigkeitskommunikation von Haushaltsgerätemarken </a:t>
            </a:r>
            <a:endParaRPr lang="en-IE" sz="2200" dirty="0"/>
          </a:p>
        </p:txBody>
      </p:sp>
      <p:grpSp>
        <p:nvGrpSpPr>
          <p:cNvPr id="2" name="Graphic 4">
            <a:extLst>
              <a:ext uri="{FF2B5EF4-FFF2-40B4-BE49-F238E27FC236}">
                <a16:creationId xmlns:a16="http://schemas.microsoft.com/office/drawing/2014/main" id="{8D899A1C-A62B-A5BE-8E12-6439E9465C4A}"/>
              </a:ext>
            </a:extLst>
          </p:cNvPr>
          <p:cNvGrpSpPr/>
          <p:nvPr/>
        </p:nvGrpSpPr>
        <p:grpSpPr>
          <a:xfrm rot="19582332">
            <a:off x="10471334" y="490325"/>
            <a:ext cx="403667" cy="780438"/>
            <a:chOff x="9129274" y="2719113"/>
            <a:chExt cx="717139" cy="1386497"/>
          </a:xfrm>
          <a:solidFill>
            <a:srgbClr val="09465E"/>
          </a:solidFill>
        </p:grpSpPr>
        <p:grpSp>
          <p:nvGrpSpPr>
            <p:cNvPr id="5" name="Graphic 4">
              <a:extLst>
                <a:ext uri="{FF2B5EF4-FFF2-40B4-BE49-F238E27FC236}">
                  <a16:creationId xmlns:a16="http://schemas.microsoft.com/office/drawing/2014/main" id="{B6F31CE7-95EA-99F9-D6FF-F6DD3A2389CA}"/>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512BA79D-0D9A-9532-ED43-91E08CD2668B}"/>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EBACF3E1-4BE3-2C9F-41D4-391E151AE17C}"/>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7" name="Graphic 4">
              <a:extLst>
                <a:ext uri="{FF2B5EF4-FFF2-40B4-BE49-F238E27FC236}">
                  <a16:creationId xmlns:a16="http://schemas.microsoft.com/office/drawing/2014/main" id="{B5D3D539-1347-C426-8140-3A17A33FF1E6}"/>
                </a:ext>
              </a:extLst>
            </p:cNvPr>
            <p:cNvGrpSpPr/>
            <p:nvPr/>
          </p:nvGrpSpPr>
          <p:grpSpPr>
            <a:xfrm>
              <a:off x="9129274" y="2893887"/>
              <a:ext cx="717139" cy="1211724"/>
              <a:chOff x="9129274" y="2893887"/>
              <a:chExt cx="717139" cy="1211724"/>
            </a:xfrm>
            <a:grpFill/>
          </p:grpSpPr>
          <p:sp>
            <p:nvSpPr>
              <p:cNvPr id="8" name="Freeform 50">
                <a:extLst>
                  <a:ext uri="{FF2B5EF4-FFF2-40B4-BE49-F238E27FC236}">
                    <a16:creationId xmlns:a16="http://schemas.microsoft.com/office/drawing/2014/main" id="{8A3582EC-6472-00A5-A233-96D16D0D91DA}"/>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F8BA7A4A-BD75-2E1A-CE4B-A727773215BA}"/>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8EF4F9DD-D31D-53F7-B242-E81E6061FE82}"/>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C03F1617-E38C-79FA-0C26-2D851FD59719}"/>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0A54BC9C-D1B1-099F-BD51-8F52439CA782}"/>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6C2C82A1-D406-7E5E-468F-C88C16FAC2EA}"/>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BC4C539A-10BF-6743-CDCA-B73F465262DF}"/>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6" name="Picture Placeholder 5">
            <a:extLst>
              <a:ext uri="{FF2B5EF4-FFF2-40B4-BE49-F238E27FC236}">
                <a16:creationId xmlns:a16="http://schemas.microsoft.com/office/drawing/2014/main" id="{2B4C21C5-85BE-04E3-756F-3DA77C64E4C4}"/>
              </a:ext>
            </a:extLst>
          </p:cNvPr>
          <p:cNvPicPr>
            <a:picLocks noGrp="1" noChangeAspect="1"/>
          </p:cNvPicPr>
          <p:nvPr>
            <p:ph type="pic" sz="quarter" idx="21"/>
          </p:nvPr>
        </p:nvPicPr>
        <p:blipFill rotWithShape="1">
          <a:blip r:embed="rId8"/>
          <a:srcRect l="17594" r="17594"/>
          <a:stretch/>
        </p:blipFill>
        <p:spPr>
          <a:xfrm>
            <a:off x="884238" y="0"/>
            <a:ext cx="4994275" cy="6858000"/>
          </a:xfrm>
        </p:spPr>
      </p:pic>
      <p:sp>
        <p:nvSpPr>
          <p:cNvPr id="3" name="Text Placeholder 2">
            <a:extLst>
              <a:ext uri="{FF2B5EF4-FFF2-40B4-BE49-F238E27FC236}">
                <a16:creationId xmlns:a16="http://schemas.microsoft.com/office/drawing/2014/main" id="{CA3B51A3-DEEC-6CC6-D5F9-1C2C631D895E}"/>
              </a:ext>
            </a:extLst>
          </p:cNvPr>
          <p:cNvSpPr>
            <a:spLocks noGrp="1"/>
          </p:cNvSpPr>
          <p:nvPr>
            <p:ph type="body" sz="quarter" idx="30"/>
          </p:nvPr>
        </p:nvSpPr>
        <p:spPr>
          <a:xfrm>
            <a:off x="4890795" y="495517"/>
            <a:ext cx="6776598" cy="842867"/>
          </a:xfrm>
        </p:spPr>
        <p:txBody>
          <a:bodyPr/>
          <a:lstStyle/>
          <a:p>
            <a:r>
              <a:rPr lang="en-IE" dirty="0"/>
              <a:t>WEITERE RESSOURCEN</a:t>
            </a:r>
          </a:p>
        </p:txBody>
      </p:sp>
    </p:spTree>
    <p:extLst>
      <p:ext uri="{BB962C8B-B14F-4D97-AF65-F5344CB8AC3E}">
        <p14:creationId xmlns:p14="http://schemas.microsoft.com/office/powerpoint/2010/main" val="6913267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AF25BE-3CCF-968B-0F0C-832A9737E72B}"/>
              </a:ext>
            </a:extLst>
          </p:cNvPr>
          <p:cNvGraphicFramePr>
            <a:graphicFrameLocks noChangeAspect="1"/>
          </p:cNvGraphicFramePr>
          <p:nvPr>
            <p:custDataLst>
              <p:tags r:id="rId1"/>
            </p:custDataLst>
            <p:extLst>
              <p:ext uri="{D42A27DB-BD31-4B8C-83A1-F6EECF244321}">
                <p14:modId xmlns:p14="http://schemas.microsoft.com/office/powerpoint/2010/main" val="316363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Father and son bonding">
            <a:extLst>
              <a:ext uri="{FF2B5EF4-FFF2-40B4-BE49-F238E27FC236}">
                <a16:creationId xmlns:a16="http://schemas.microsoft.com/office/drawing/2014/main" id="{5692144B-4FCB-7B84-10F1-376F593FE622}"/>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51" b="6851"/>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113515" cy="2850370"/>
          </a:xfrm>
        </p:spPr>
        <p:txBody>
          <a:bodyPr/>
          <a:lstStyle/>
          <a:p>
            <a:r>
              <a:rPr lang="en-GB" b="1" dirty="0"/>
              <a:t>STRATEGIEN FÜR EINE WIRKSAME ONLINE-PRÄSENZ</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t>03</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024237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B3ABF20-31F7-5AAD-8A35-B351130A7367}"/>
              </a:ext>
            </a:extLst>
          </p:cNvPr>
          <p:cNvGraphicFramePr>
            <a:graphicFrameLocks noChangeAspect="1"/>
          </p:cNvGraphicFramePr>
          <p:nvPr>
            <p:custDataLst>
              <p:tags r:id="rId1"/>
            </p:custDataLst>
            <p:extLst>
              <p:ext uri="{D42A27DB-BD31-4B8C-83A1-F6EECF244321}">
                <p14:modId xmlns:p14="http://schemas.microsoft.com/office/powerpoint/2010/main" val="173478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a:extLst>
              <a:ext uri="{FF2B5EF4-FFF2-40B4-BE49-F238E27FC236}">
                <a16:creationId xmlns:a16="http://schemas.microsoft.com/office/drawing/2014/main" id="{BBF2B939-A9AF-143D-2746-12CCCC40BA35}"/>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5693" r="25693"/>
          <a:stretch/>
        </p:blipFill>
        <p:spPr>
          <a:xfrm>
            <a:off x="-103188" y="0"/>
            <a:ext cx="4994276" cy="6858000"/>
          </a:xfrm>
        </p:spPr>
      </p:pic>
      <p:sp>
        <p:nvSpPr>
          <p:cNvPr id="4" name="Text Placeholder 3">
            <a:extLst>
              <a:ext uri="{FF2B5EF4-FFF2-40B4-BE49-F238E27FC236}">
                <a16:creationId xmlns:a16="http://schemas.microsoft.com/office/drawing/2014/main" id="{D5A6367B-3B01-F8A1-6600-3BE09425B464}"/>
              </a:ext>
            </a:extLst>
          </p:cNvPr>
          <p:cNvSpPr>
            <a:spLocks noGrp="1"/>
          </p:cNvSpPr>
          <p:nvPr>
            <p:ph type="body" sz="quarter" idx="48"/>
          </p:nvPr>
        </p:nvSpPr>
        <p:spPr>
          <a:xfrm>
            <a:off x="5536734" y="1645432"/>
            <a:ext cx="5519956" cy="4355700"/>
          </a:xfrm>
        </p:spPr>
        <p:txBody>
          <a:bodyPr/>
          <a:lstStyle/>
          <a:p>
            <a:pPr algn="just"/>
            <a:endParaRPr lang="en-GB" sz="2200" dirty="0"/>
          </a:p>
          <a:p>
            <a:pPr algn="just"/>
            <a:r>
              <a:rPr lang="en-GB" sz="2200" dirty="0"/>
              <a:t>Werfen wir einen Blick auf die wichtigsten Taktiken, auf die sich nachhaltige Projekte konzentrieren sollten, um eine effektive Online-Präsenz zu schaffen, die sinnvolle Verbindungen mit ihrem Publikum fördert.</a:t>
            </a:r>
          </a:p>
          <a:p>
            <a:pPr algn="just"/>
            <a:endParaRPr lang="en-GB" sz="2200" dirty="0"/>
          </a:p>
          <a:p>
            <a:pPr algn="just"/>
            <a:r>
              <a:rPr lang="en-GB" sz="2200" dirty="0"/>
              <a:t>Die Umsetzung dieser Strategien wird nachhaltigen Projekten nicht nur zu einer starken Online-Präsenz verhelfen, sondern sie auch für einen langfristigen Erfolg in der digitalen Landschaft positionieren. </a:t>
            </a:r>
            <a:endParaRPr lang="en-US" sz="2200" dirty="0"/>
          </a:p>
          <a:p>
            <a:endParaRPr lang="en-IE" sz="2200" dirty="0"/>
          </a:p>
        </p:txBody>
      </p:sp>
      <p:sp>
        <p:nvSpPr>
          <p:cNvPr id="3" name="Text Placeholder 2">
            <a:extLst>
              <a:ext uri="{FF2B5EF4-FFF2-40B4-BE49-F238E27FC236}">
                <a16:creationId xmlns:a16="http://schemas.microsoft.com/office/drawing/2014/main" id="{E9FF1280-9317-778F-0DE2-6E3E312B6E5C}"/>
              </a:ext>
            </a:extLst>
          </p:cNvPr>
          <p:cNvSpPr>
            <a:spLocks noGrp="1"/>
          </p:cNvSpPr>
          <p:nvPr>
            <p:ph type="body" sz="quarter" idx="30"/>
          </p:nvPr>
        </p:nvSpPr>
        <p:spPr>
          <a:xfrm>
            <a:off x="4437790" y="435434"/>
            <a:ext cx="6776598" cy="1150085"/>
          </a:xfrm>
        </p:spPr>
        <p:txBody>
          <a:bodyPr/>
          <a:lstStyle/>
          <a:p>
            <a:r>
              <a:rPr lang="en-GB" dirty="0"/>
              <a:t>STRATEGIEN FÜR EINE WIRKSAME ONLINE-PRÄSENZ</a:t>
            </a:r>
            <a:endParaRPr lang="en-US" dirty="0"/>
          </a:p>
        </p:txBody>
      </p:sp>
    </p:spTree>
    <p:extLst>
      <p:ext uri="{BB962C8B-B14F-4D97-AF65-F5344CB8AC3E}">
        <p14:creationId xmlns:p14="http://schemas.microsoft.com/office/powerpoint/2010/main" val="16824386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9DD39B-EEC0-F036-90B0-764C000F8BAF}"/>
              </a:ext>
            </a:extLst>
          </p:cNvPr>
          <p:cNvGraphicFramePr>
            <a:graphicFrameLocks noChangeAspect="1"/>
          </p:cNvGraphicFramePr>
          <p:nvPr>
            <p:custDataLst>
              <p:tags r:id="rId1"/>
            </p:custDataLst>
            <p:extLst>
              <p:ext uri="{D42A27DB-BD31-4B8C-83A1-F6EECF244321}">
                <p14:modId xmlns:p14="http://schemas.microsoft.com/office/powerpoint/2010/main" val="2000523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Woman in a video call">
            <a:extLst>
              <a:ext uri="{FF2B5EF4-FFF2-40B4-BE49-F238E27FC236}">
                <a16:creationId xmlns:a16="http://schemas.microsoft.com/office/drawing/2014/main" id="{3569CC6B-C201-7B34-6233-F7758A574FE0}"/>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308808"/>
            <a:ext cx="4951851" cy="614105"/>
          </a:xfrm>
        </p:spPr>
        <p:txBody>
          <a:bodyPr/>
          <a:lstStyle/>
          <a:p>
            <a:r>
              <a:rPr lang="en-US" dirty="0"/>
              <a:t>WEBSITE-ENTWICKLUNG</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16116" y="1044290"/>
            <a:ext cx="5554306" cy="5541859"/>
          </a:xfrm>
          <a:solidFill>
            <a:schemeClr val="bg1"/>
          </a:solidFill>
        </p:spPr>
        <p:txBody>
          <a:bodyPr/>
          <a:lstStyle/>
          <a:p>
            <a:pPr algn="just"/>
            <a:r>
              <a:rPr lang="en-GB" sz="2000" dirty="0"/>
              <a:t>Die Grundlage einer starken Online-Präsenz beginnt mit einer gut gestalteten Website, die die Werte und den Auftrag des nachhaltigen Projekts verkörpert.</a:t>
            </a:r>
          </a:p>
          <a:p>
            <a:pPr algn="just"/>
            <a:endParaRPr lang="en-GB" sz="2000" dirty="0"/>
          </a:p>
          <a:p>
            <a:pPr algn="just"/>
            <a:r>
              <a:rPr lang="en-GB" sz="2000" dirty="0"/>
              <a:t>Unternehmen sollten sich darauf konzentrieren, eine benutzerfreundliche Website zu erstellen, die ihr Engagement für Nachhaltigkeit widerspiegelt, indem sie umweltfreundliche Designelemente einbezieht und sicherstellt, dass sie leicht zugänglich, visuell ansprechend und für mobile Geräte optimiert ist.</a:t>
            </a:r>
          </a:p>
          <a:p>
            <a:pPr algn="just"/>
            <a:endParaRPr lang="en-GB" sz="2000" dirty="0"/>
          </a:p>
          <a:p>
            <a:pPr algn="just"/>
            <a:r>
              <a:rPr lang="en-GB" sz="2000" dirty="0"/>
              <a:t>Website-Entwicklungsplattformen wie </a:t>
            </a:r>
            <a:r>
              <a:rPr lang="en-GB" sz="2000" b="1" dirty="0">
                <a:hlinkClick r:id="rId6"/>
              </a:rPr>
              <a:t>WordPress </a:t>
            </a:r>
            <a:r>
              <a:rPr lang="en-GB" sz="2000" dirty="0"/>
              <a:t>oder </a:t>
            </a:r>
            <a:r>
              <a:rPr lang="en-GB" sz="2000" b="1" dirty="0">
                <a:hlinkClick r:id="rId7"/>
              </a:rPr>
              <a:t>Wix </a:t>
            </a:r>
            <a:r>
              <a:rPr lang="en-GB" sz="2000" dirty="0"/>
              <a:t>und </a:t>
            </a:r>
            <a:r>
              <a:rPr lang="en-GB" sz="2000" b="1" dirty="0">
                <a:hlinkClick r:id="rId8"/>
              </a:rPr>
              <a:t>Squarespace </a:t>
            </a:r>
            <a:r>
              <a:rPr lang="en-GB" sz="2000" dirty="0"/>
              <a:t>sowie Tools wie </a:t>
            </a:r>
            <a:r>
              <a:rPr lang="en-GB" sz="2000" b="1" dirty="0">
                <a:hlinkClick r:id="rId9"/>
              </a:rPr>
              <a:t>Shopify </a:t>
            </a:r>
            <a:r>
              <a:rPr lang="en-GB" sz="2000" dirty="0"/>
              <a:t>können diesen Prozess erleichtern, indem sie anpassbare Vorlagen für Nachhaltigkeitsthemen und eine nahtlose mobile Optimierung bieten.</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7</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2816398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DA265A1-2225-F333-10CA-E53EB87DC1F2}"/>
              </a:ext>
            </a:extLst>
          </p:cNvPr>
          <p:cNvGraphicFramePr>
            <a:graphicFrameLocks noChangeAspect="1"/>
          </p:cNvGraphicFramePr>
          <p:nvPr>
            <p:custDataLst>
              <p:tags r:id="rId1"/>
            </p:custDataLst>
            <p:extLst>
              <p:ext uri="{D42A27DB-BD31-4B8C-83A1-F6EECF244321}">
                <p14:modId xmlns:p14="http://schemas.microsoft.com/office/powerpoint/2010/main" val="190789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Child in front of camera">
            <a:extLst>
              <a:ext uri="{FF2B5EF4-FFF2-40B4-BE49-F238E27FC236}">
                <a16:creationId xmlns:a16="http://schemas.microsoft.com/office/drawing/2014/main" id="{6074E0E7-2F22-3FC6-1F26-4524B9D20971}"/>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43" r="21443"/>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614105"/>
          </a:xfrm>
        </p:spPr>
        <p:txBody>
          <a:bodyPr/>
          <a:lstStyle/>
          <a:p>
            <a:r>
              <a:rPr lang="en-US" sz="3200" dirty="0"/>
              <a:t>ERSTELLUNG VON INHALT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5" y="1208016"/>
            <a:ext cx="5434567" cy="5378134"/>
          </a:xfrm>
          <a:solidFill>
            <a:schemeClr val="bg1"/>
          </a:solidFill>
        </p:spPr>
        <p:txBody>
          <a:bodyPr/>
          <a:lstStyle/>
          <a:p>
            <a:pPr algn="just"/>
            <a:r>
              <a:rPr lang="en-GB" sz="1800" dirty="0"/>
              <a:t>Überzeugende und informative Inhalte sind wichtig, um ein Online-Publikum anzusprechen und zu binden. Unternehmen können beliebte Tools zur Inhaltserstellung wie </a:t>
            </a:r>
            <a:r>
              <a:rPr lang="en-GB" sz="1800" b="1" dirty="0">
                <a:hlinkClick r:id="rId6"/>
              </a:rPr>
              <a:t>Canva </a:t>
            </a:r>
            <a:r>
              <a:rPr lang="en-GB" sz="1800" dirty="0"/>
              <a:t>oder </a:t>
            </a:r>
            <a:r>
              <a:rPr lang="en-GB" sz="1800" b="1" dirty="0">
                <a:hlinkClick r:id="rId7"/>
              </a:rPr>
              <a:t>Adobe Express </a:t>
            </a:r>
            <a:r>
              <a:rPr lang="en-GB" sz="1800" dirty="0"/>
              <a:t>nutzen, um visuell ansprechende Grafiken und Videos zu erstellen, die ihre Nachhaltigkeitsbotschaft ergänzen. </a:t>
            </a:r>
          </a:p>
          <a:p>
            <a:pPr algn="just"/>
            <a:endParaRPr lang="en-GB" sz="1800" dirty="0"/>
          </a:p>
          <a:p>
            <a:pPr algn="just"/>
            <a:r>
              <a:rPr lang="en-GB" sz="1800" dirty="0"/>
              <a:t>Unternehmen sollten auch eine Inhaltsstrategie entwickeln, die sich auf die Erstellung wertvoller und relevanter Inhalte zum Thema Nachhaltigkeit konzentriert. </a:t>
            </a:r>
          </a:p>
          <a:p>
            <a:pPr algn="just"/>
            <a:endParaRPr lang="en-GB" sz="1800" dirty="0"/>
          </a:p>
          <a:p>
            <a:pPr algn="just"/>
            <a:r>
              <a:rPr lang="en-GB" sz="1800" dirty="0"/>
              <a:t>Dies könnte </a:t>
            </a:r>
            <a:r>
              <a:rPr lang="en-GB" sz="1800" b="1" dirty="0"/>
              <a:t>Blogbeiträge, Artikel, Fallstudien, Videos und Infografiken </a:t>
            </a:r>
            <a:r>
              <a:rPr lang="en-GB" sz="1800" dirty="0"/>
              <a:t>umfassen, die Verbraucher über Nachhaltigkeitsthemen aufklären, die Nachhaltigkeitsinitiativen des Unternehmens vorstellen und die ökologischen und sozialen Auswirkungen seiner Produkte oder Dienstleistungen hervorheben. </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8</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51483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D605BBA-9850-FBE8-DC7F-13AA1EA7D687}"/>
              </a:ext>
            </a:extLst>
          </p:cNvPr>
          <p:cNvGraphicFramePr>
            <a:graphicFrameLocks noChangeAspect="1"/>
          </p:cNvGraphicFramePr>
          <p:nvPr>
            <p:custDataLst>
              <p:tags r:id="rId1"/>
            </p:custDataLst>
            <p:extLst>
              <p:ext uri="{D42A27DB-BD31-4B8C-83A1-F6EECF244321}">
                <p14:modId xmlns:p14="http://schemas.microsoft.com/office/powerpoint/2010/main" val="398256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4" descr="Empty speech bubbles">
            <a:extLst>
              <a:ext uri="{FF2B5EF4-FFF2-40B4-BE49-F238E27FC236}">
                <a16:creationId xmlns:a16="http://schemas.microsoft.com/office/drawing/2014/main" id="{B03D0831-7B9F-2D7A-6FF6-8727132873BE}"/>
              </a:ext>
            </a:extLst>
          </p:cNvPr>
          <p:cNvPicPr>
            <a:picLocks noGrp="1" noChangeAspect="1"/>
          </p:cNvPicPr>
          <p:nvPr>
            <p:ph type="pic" sz="quarter" idx="21"/>
          </p:nvPr>
        </p:nvPicPr>
        <p:blipFill>
          <a:blip r:embed="rId5" cstate="email">
            <a:extLst>
              <a:ext uri="{28A0092B-C50C-407E-A947-70E740481C1C}">
                <a14:useLocalDpi xmlns:a14="http://schemas.microsoft.com/office/drawing/2010/main"/>
              </a:ext>
            </a:extLst>
          </a:blip>
          <a:srcRect l="21450" r="21450"/>
          <a:stretch/>
        </p:blipFill>
        <p:spPr>
          <a:xfrm>
            <a:off x="0" y="0"/>
            <a:ext cx="5875338" cy="6858000"/>
          </a:xfrm>
        </p:spPr>
      </p:pic>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71850"/>
            <a:ext cx="5510068" cy="614105"/>
          </a:xfrm>
        </p:spPr>
        <p:txBody>
          <a:bodyPr/>
          <a:lstStyle/>
          <a:p>
            <a:r>
              <a:rPr lang="en-US" dirty="0"/>
              <a:t>SOCIAL MEDIA MARKETING</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209462" y="1208015"/>
            <a:ext cx="5616722" cy="5301841"/>
          </a:xfrm>
          <a:solidFill>
            <a:schemeClr val="bg1"/>
          </a:solidFill>
        </p:spPr>
        <p:txBody>
          <a:bodyPr/>
          <a:lstStyle/>
          <a:p>
            <a:pPr algn="just"/>
            <a:r>
              <a:rPr lang="en-GB" sz="1800" dirty="0"/>
              <a:t>Social-Media-Plattformen bieten Unternehmen wertvolle Möglichkeiten, mit ihrem Publikum in Kontakt zu treten, ihre Nachhaltigkeitsbotschaft hervorzuheben und das Engagement in der Gemeinschaft zu fördern. </a:t>
            </a:r>
          </a:p>
          <a:p>
            <a:pPr algn="just"/>
            <a:endParaRPr lang="en-GB" sz="1800" dirty="0"/>
          </a:p>
          <a:p>
            <a:pPr algn="just"/>
            <a:r>
              <a:rPr lang="en-GB" sz="1800" dirty="0"/>
              <a:t>Nachhaltige Unternehmen können einen strategischen Marketingplan für soziale Medien entwickeln und Tools wie </a:t>
            </a:r>
            <a:r>
              <a:rPr lang="en-GB" sz="1800" b="1" dirty="0"/>
              <a:t>Hootsuite </a:t>
            </a:r>
            <a:r>
              <a:rPr lang="en-GB" sz="1800" dirty="0"/>
              <a:t>oder </a:t>
            </a:r>
            <a:r>
              <a:rPr lang="en-GB" sz="1800" b="1" dirty="0"/>
              <a:t>Buffer </a:t>
            </a:r>
            <a:r>
              <a:rPr lang="en-GB" sz="1800" dirty="0"/>
              <a:t>verwenden, um Beiträge zu planen und das Engagement zu überwachen.</a:t>
            </a:r>
          </a:p>
          <a:p>
            <a:pPr algn="just"/>
            <a:endParaRPr lang="en-GB" sz="1800" dirty="0"/>
          </a:p>
          <a:p>
            <a:pPr algn="just"/>
            <a:r>
              <a:rPr lang="en-GB" sz="1800" dirty="0"/>
              <a:t>Durch das Teilen von Geschichten hinter den Kulissen, das Präsentieren von nutzergenerierten Inhalten und die Teilnahme an Gesprächen über ökologische und soziale Themen können Unternehmen ihre Marke vermenschlichen, Beziehungen zu Kunden aufbauen und eine treue Gemeinschaft umweltbewusster Anhänger schaffen.</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29</a:t>
            </a:fld>
            <a:endParaRPr lang="en-US" sz="1291" dirty="0"/>
          </a:p>
        </p:txBody>
      </p:sp>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275548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ECC96B8-6622-927A-9A95-026362002FE9}"/>
              </a:ext>
            </a:extLst>
          </p:cNvPr>
          <p:cNvGraphicFramePr>
            <a:graphicFrameLocks noChangeAspect="1"/>
          </p:cNvGraphicFramePr>
          <p:nvPr>
            <p:custDataLst>
              <p:tags r:id="rId1"/>
            </p:custDataLst>
            <p:extLst>
              <p:ext uri="{D42A27DB-BD31-4B8C-83A1-F6EECF244321}">
                <p14:modId xmlns:p14="http://schemas.microsoft.com/office/powerpoint/2010/main" val="617153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Placeholder 5" descr="Numbers on a digital display">
            <a:extLst>
              <a:ext uri="{FF2B5EF4-FFF2-40B4-BE49-F238E27FC236}">
                <a16:creationId xmlns:a16="http://schemas.microsoft.com/office/drawing/2014/main" id="{4BEC6209-D926-328A-2488-4B6D1E5240E2}"/>
              </a:ext>
            </a:extLst>
          </p:cNvPr>
          <p:cNvPicPr>
            <a:picLocks noGrp="1" noChangeAspect="1"/>
          </p:cNvPicPr>
          <p:nvPr>
            <p:ph type="pic" sz="quarter" idx="19"/>
          </p:nvPr>
        </p:nvPicPr>
        <p:blipFill>
          <a:blip r:embed="rId5" cstate="email">
            <a:extLst>
              <a:ext uri="{28A0092B-C50C-407E-A947-70E740481C1C}">
                <a14:useLocalDpi xmlns:a14="http://schemas.microsoft.com/office/drawing/2010/main"/>
              </a:ext>
            </a:extLst>
          </a:blip>
          <a:srcRect t="6896" b="6896"/>
          <a:stretch/>
        </p:blipFill>
        <p:spPr>
          <a:xfrm>
            <a:off x="0" y="774700"/>
            <a:ext cx="7377113" cy="4244975"/>
          </a:xfrm>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503936" y="1160888"/>
            <a:ext cx="3313690" cy="2850370"/>
          </a:xfrm>
        </p:spPr>
        <p:txBody>
          <a:bodyPr/>
          <a:lstStyle/>
          <a:p>
            <a:r>
              <a:rPr lang="en-GB" b="1" dirty="0"/>
              <a:t>EINFÜHRUNG IN DIE MARKTANALYSE UND DAS DIGITALE MARKETING FÜR NACHHALTIGE UNTERNEHMUNGEN</a:t>
            </a:r>
            <a:endParaRPr lang="en-US" b="1" dirty="0"/>
          </a:p>
        </p:txBody>
      </p:sp>
      <p:sp>
        <p:nvSpPr>
          <p:cNvPr id="15" name="Text Placeholder 14">
            <a:extLst>
              <a:ext uri="{FF2B5EF4-FFF2-40B4-BE49-F238E27FC236}">
                <a16:creationId xmlns:a16="http://schemas.microsoft.com/office/drawing/2014/main" id="{911AB0B7-8D8D-F215-D9F9-18AED9854EFF}"/>
              </a:ext>
            </a:extLst>
          </p:cNvPr>
          <p:cNvSpPr>
            <a:spLocks noGrp="1"/>
          </p:cNvSpPr>
          <p:nvPr>
            <p:ph type="body" sz="quarter" idx="20"/>
          </p:nvPr>
        </p:nvSpPr>
        <p:spPr/>
        <p:txBody>
          <a:bodyPr/>
          <a:lstStyle/>
          <a:p>
            <a:r>
              <a:rPr lang="en-US" dirty="0">
                <a:solidFill>
                  <a:srgbClr val="60BA47"/>
                </a:solidFill>
              </a:rPr>
              <a:t>01</a:t>
            </a:r>
          </a:p>
        </p:txBody>
      </p:sp>
      <p:grpSp>
        <p:nvGrpSpPr>
          <p:cNvPr id="7" name="Group 6">
            <a:extLst>
              <a:ext uri="{FF2B5EF4-FFF2-40B4-BE49-F238E27FC236}">
                <a16:creationId xmlns:a16="http://schemas.microsoft.com/office/drawing/2014/main" id="{F31449E5-CE69-B7F0-D978-C0BC19A4EED8}"/>
              </a:ext>
            </a:extLst>
          </p:cNvPr>
          <p:cNvGrpSpPr/>
          <p:nvPr/>
        </p:nvGrpSpPr>
        <p:grpSpPr>
          <a:xfrm rot="5400000">
            <a:off x="-1445174" y="567935"/>
            <a:ext cx="5074615" cy="2369127"/>
            <a:chOff x="-1871944" y="1778846"/>
            <a:chExt cx="1736764" cy="810823"/>
          </a:xfrm>
          <a:solidFill>
            <a:schemeClr val="bg1">
              <a:alpha val="56867"/>
            </a:schemeClr>
          </a:solidFill>
        </p:grpSpPr>
        <p:sp>
          <p:nvSpPr>
            <p:cNvPr id="8" name="Freeform 7">
              <a:extLst>
                <a:ext uri="{FF2B5EF4-FFF2-40B4-BE49-F238E27FC236}">
                  <a16:creationId xmlns:a16="http://schemas.microsoft.com/office/drawing/2014/main" id="{AECCB747-8A20-F339-E2FA-BC8DE29721C9}"/>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160367A9-2062-9510-5DCE-4BC1BF1DD01B}"/>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93C4B50-F1FE-53D0-775A-A39AC65EAAA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33B787A-E374-70ED-BCB3-81F3ADD424C9}"/>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FBD5E5D-9168-AB45-E13E-CFAF9F4F1104}"/>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F6B73F2-9158-B177-3E0C-46125D0D50DC}"/>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218203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B469A43-7F6C-65E6-6483-302259C1830C}"/>
              </a:ext>
            </a:extLst>
          </p:cNvPr>
          <p:cNvGraphicFramePr>
            <a:graphicFrameLocks noChangeAspect="1"/>
          </p:cNvGraphicFramePr>
          <p:nvPr>
            <p:custDataLst>
              <p:tags r:id="rId1"/>
            </p:custDataLst>
            <p:extLst>
              <p:ext uri="{D42A27DB-BD31-4B8C-83A1-F6EECF244321}">
                <p14:modId xmlns:p14="http://schemas.microsoft.com/office/powerpoint/2010/main" val="1125367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AA53CC8-DCDA-595D-9675-8C3071D26F2A}"/>
              </a:ext>
            </a:extLst>
          </p:cNvPr>
          <p:cNvSpPr>
            <a:spLocks noGrp="1"/>
          </p:cNvSpPr>
          <p:nvPr>
            <p:ph type="body" sz="quarter" idx="48"/>
          </p:nvPr>
        </p:nvSpPr>
        <p:spPr>
          <a:xfrm>
            <a:off x="6585838" y="2160422"/>
            <a:ext cx="4781245" cy="3889855"/>
          </a:xfrm>
        </p:spPr>
        <p:txBody>
          <a:bodyPr/>
          <a:lstStyle/>
          <a:p>
            <a:pPr algn="just">
              <a:lnSpc>
                <a:spcPct val="107000"/>
              </a:lnSpc>
              <a:spcAft>
                <a:spcPts val="800"/>
              </a:spcAft>
            </a:pP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All About Kombucha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nutzt digitale Marketingstrategien und eine effektive Online-Präsenz, um umweltbewusste Verbraucher anzusprechen, wobei der Schwerpunkt auf der Marktanalyse liegt. </a:t>
            </a:r>
          </a:p>
        </p:txBody>
      </p:sp>
      <p:pic>
        <p:nvPicPr>
          <p:cNvPr id="8" name="Picture 7">
            <a:extLst>
              <a:ext uri="{FF2B5EF4-FFF2-40B4-BE49-F238E27FC236}">
                <a16:creationId xmlns:a16="http://schemas.microsoft.com/office/drawing/2014/main" id="{1B1EBFE2-9FD3-7821-456E-B4D075E1040E}"/>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8036652" y="4297903"/>
            <a:ext cx="1878209" cy="1878209"/>
          </a:xfrm>
          <a:prstGeom prst="rect">
            <a:avLst/>
          </a:prstGeom>
        </p:spPr>
      </p:pic>
      <p:pic>
        <p:nvPicPr>
          <p:cNvPr id="2" name="Picture Placeholder 5">
            <a:extLst>
              <a:ext uri="{FF2B5EF4-FFF2-40B4-BE49-F238E27FC236}">
                <a16:creationId xmlns:a16="http://schemas.microsoft.com/office/drawing/2014/main" id="{FEF3BC3B-811B-D1F3-DFA2-5EF6F85B3FB8}"/>
              </a:ext>
            </a:extLst>
          </p:cNvPr>
          <p:cNvPicPr>
            <a:picLocks noGrp="1" noChangeAspect="1"/>
          </p:cNvPicPr>
          <p:nvPr>
            <p:ph type="pic" sz="quarter" idx="21"/>
          </p:nvPr>
        </p:nvPicPr>
        <p:blipFill>
          <a:blip r:embed="rId7" cstate="email">
            <a:extLst>
              <a:ext uri="{28A0092B-C50C-407E-A947-70E740481C1C}">
                <a14:useLocalDpi xmlns:a14="http://schemas.microsoft.com/office/drawing/2010/main"/>
              </a:ext>
            </a:extLst>
          </a:blip>
          <a:srcRect t="4240" b="4240"/>
          <a:stretch/>
        </p:blipFill>
        <p:spPr>
          <a:xfrm>
            <a:off x="884238" y="0"/>
            <a:ext cx="4994275" cy="6858000"/>
          </a:xfrm>
        </p:spPr>
      </p:pic>
      <p:sp>
        <p:nvSpPr>
          <p:cNvPr id="3" name="Text Placeholder 2">
            <a:extLst>
              <a:ext uri="{FF2B5EF4-FFF2-40B4-BE49-F238E27FC236}">
                <a16:creationId xmlns:a16="http://schemas.microsoft.com/office/drawing/2014/main" id="{07E69AD5-1992-0B4C-FD4F-9985BEB3FCE9}"/>
              </a:ext>
            </a:extLst>
          </p:cNvPr>
          <p:cNvSpPr>
            <a:spLocks noGrp="1"/>
          </p:cNvSpPr>
          <p:nvPr>
            <p:ph type="body" sz="quarter" idx="30"/>
          </p:nvPr>
        </p:nvSpPr>
        <p:spPr>
          <a:xfrm>
            <a:off x="4890795" y="444618"/>
            <a:ext cx="6776598" cy="1137048"/>
          </a:xfrm>
        </p:spPr>
        <p:txBody>
          <a:bodyPr/>
          <a:lstStyle/>
          <a:p>
            <a:r>
              <a:rPr lang="en-IE" dirty="0"/>
              <a:t>BEST PRACTICE: </a:t>
            </a:r>
            <a:br>
              <a:rPr lang="en-IE" dirty="0"/>
            </a:br>
            <a:r>
              <a:rPr lang="en-IE" sz="3600" kern="100" dirty="0">
                <a:effectLst/>
                <a:latin typeface="Calibri" panose="020F0502020204030204" pitchFamily="34" charset="0"/>
                <a:ea typeface="Calibri" panose="020F0502020204030204" pitchFamily="34" charset="0"/>
                <a:cs typeface="Times New Roman" panose="02020603050405020304" pitchFamily="18" charset="0"/>
              </a:rPr>
              <a:t>ALL ABOUT KOMBUCHA </a:t>
            </a:r>
            <a:endParaRPr lang="en-IE" dirty="0"/>
          </a:p>
        </p:txBody>
      </p:sp>
    </p:spTree>
    <p:extLst>
      <p:ext uri="{BB962C8B-B14F-4D97-AF65-F5344CB8AC3E}">
        <p14:creationId xmlns:p14="http://schemas.microsoft.com/office/powerpoint/2010/main" val="31967424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9D5A215-63CE-AC0E-0948-B12635659CB2}"/>
              </a:ext>
            </a:extLst>
          </p:cNvPr>
          <p:cNvSpPr>
            <a:spLocks noGrp="1"/>
          </p:cNvSpPr>
          <p:nvPr>
            <p:ph type="body" sz="quarter" idx="48"/>
          </p:nvPr>
        </p:nvSpPr>
        <p:spPr>
          <a:xfrm>
            <a:off x="6316116" y="729565"/>
            <a:ext cx="5157730" cy="5398870"/>
          </a:xfrm>
        </p:spPr>
        <p:txBody>
          <a:bodyPr/>
          <a:lstStyle/>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hr Ansatz veranschaulicht, wie Marktkenntnisse und digitale Tools zur Förderung nachhaltiger Produkte genutzt werden können. </a:t>
            </a:r>
          </a:p>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Ihr erfolgreicher Einsatz digitaler Plattformen, um ein Zielpublikum zu erreichen und anzusprechen, zeigt den Einfluss von Marktanalysen und digitalem Marketing auf die Nachfrage der Verbraucher nach nachhaltigen Produkten.</a:t>
            </a:r>
          </a:p>
          <a:p>
            <a:pPr algn="just">
              <a:lnSpc>
                <a:spcPct val="107000"/>
              </a:lnSpc>
              <a:spcAft>
                <a:spcPts val="800"/>
              </a:spcAft>
            </a:pP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Erfahren Sie mehr über </a:t>
            </a:r>
            <a:r>
              <a:rPr lang="en-IE" sz="2200" b="1" kern="100" dirty="0">
                <a:solidFill>
                  <a:srgbClr val="F36C2F"/>
                </a:solidFill>
                <a:effectLst/>
                <a:latin typeface="Calibri" panose="020F0502020204030204" pitchFamily="34" charset="0"/>
                <a:ea typeface="Calibri" panose="020F0502020204030204" pitchFamily="34" charset="0"/>
                <a:cs typeface="Times New Roman" panose="02020603050405020304" pitchFamily="18" charset="0"/>
                <a:hlinkClick r:id="rId2">
                  <a:extLst>
                    <a:ext uri="{A12FA001-AC4F-418D-AE19-62706E023703}">
                      <ahyp:hlinkClr xmlns:ahyp="http://schemas.microsoft.com/office/drawing/2018/hyperlinkcolor" val="tx"/>
                    </a:ext>
                  </a:extLst>
                </a:hlinkClick>
              </a:rPr>
              <a:t>All About Kombucha</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 indem Sie unser </a:t>
            </a:r>
            <a:r>
              <a:rPr lang="en-IE" sz="2200" b="1" kern="100" dirty="0">
                <a:effectLst/>
                <a:ea typeface="Calibri" panose="020F0502020204030204" pitchFamily="34" charset="0"/>
                <a:cs typeface="Times New Roman" panose="02020603050405020304" pitchFamily="18" charset="0"/>
                <a:hlinkClick r:id="rId3"/>
              </a:rPr>
              <a:t>Kompendium der Fallstudien </a:t>
            </a:r>
            <a:r>
              <a:rPr lang="en-IE" sz="2200" kern="100" dirty="0">
                <a:effectLst/>
                <a:latin typeface="Calibri" panose="020F0502020204030204" pitchFamily="34" charset="0"/>
                <a:ea typeface="Calibri" panose="020F0502020204030204" pitchFamily="34" charset="0"/>
                <a:cs typeface="Times New Roman" panose="02020603050405020304" pitchFamily="18" charset="0"/>
              </a:rPr>
              <a:t>besuchen. </a:t>
            </a:r>
          </a:p>
        </p:txBody>
      </p:sp>
      <p:pic>
        <p:nvPicPr>
          <p:cNvPr id="2" name="Picture Placeholder 5">
            <a:extLst>
              <a:ext uri="{FF2B5EF4-FFF2-40B4-BE49-F238E27FC236}">
                <a16:creationId xmlns:a16="http://schemas.microsoft.com/office/drawing/2014/main" id="{BCED3D00-12FB-1870-AAAC-37367AB77A60}"/>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t="11092" b="11092"/>
          <a:stretch/>
        </p:blipFill>
        <p:spPr>
          <a:xfrm>
            <a:off x="0" y="0"/>
            <a:ext cx="5875338" cy="6858000"/>
          </a:xfrm>
        </p:spPr>
      </p:pic>
    </p:spTree>
    <p:extLst>
      <p:ext uri="{BB962C8B-B14F-4D97-AF65-F5344CB8AC3E}">
        <p14:creationId xmlns:p14="http://schemas.microsoft.com/office/powerpoint/2010/main" val="5850819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A535F3F-4B51-64E8-FC78-4505739460C5}"/>
              </a:ext>
            </a:extLst>
          </p:cNvPr>
          <p:cNvGraphicFramePr>
            <a:graphicFrameLocks noChangeAspect="1"/>
          </p:cNvGraphicFramePr>
          <p:nvPr>
            <p:custDataLst>
              <p:tags r:id="rId1"/>
            </p:custDataLst>
            <p:extLst>
              <p:ext uri="{D42A27DB-BD31-4B8C-83A1-F6EECF244321}">
                <p14:modId xmlns:p14="http://schemas.microsoft.com/office/powerpoint/2010/main" val="2791802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9749E53-DCE2-60DB-873F-E90FD811FC60}"/>
              </a:ext>
            </a:extLst>
          </p:cNvPr>
          <p:cNvSpPr>
            <a:spLocks noGrp="1"/>
          </p:cNvSpPr>
          <p:nvPr>
            <p:ph type="body" sz="quarter" idx="48"/>
          </p:nvPr>
        </p:nvSpPr>
        <p:spPr>
          <a:xfrm>
            <a:off x="5226341" y="1535185"/>
            <a:ext cx="6315217" cy="4464757"/>
          </a:xfrm>
        </p:spPr>
        <p:txBody>
          <a:bodyPr/>
          <a:lstStyle/>
          <a:p>
            <a:pPr algn="just"/>
            <a:r>
              <a:rPr lang="en-GB" sz="1800" b="1" dirty="0"/>
              <a:t>Kartierung und Einbeziehung von Interessengruppen </a:t>
            </a:r>
          </a:p>
          <a:p>
            <a:pPr algn="just"/>
            <a:endParaRPr lang="en-GB" sz="1800" dirty="0"/>
          </a:p>
          <a:p>
            <a:pPr algn="just"/>
            <a:r>
              <a:rPr lang="en-GB" sz="1800" b="1" dirty="0"/>
              <a:t>Zielsetzung: </a:t>
            </a:r>
            <a:r>
              <a:rPr lang="en-GB" sz="1800" dirty="0"/>
              <a:t>Identifizierung und Einbeziehung von Interessengruppen für ein Nachhaltigkeitsprojekt.</a:t>
            </a:r>
          </a:p>
          <a:p>
            <a:pPr algn="just"/>
            <a:endParaRPr lang="en-GB" sz="1800" dirty="0"/>
          </a:p>
          <a:p>
            <a:pPr algn="just"/>
            <a:r>
              <a:rPr lang="en-GB" sz="1800" b="1" dirty="0"/>
              <a:t>Identifizierung der Stakeholder: </a:t>
            </a:r>
            <a:r>
              <a:rPr lang="en-GB" sz="1800" dirty="0"/>
              <a:t>Führen Sie die wichtigsten Interessengruppen auf (z. B. Gemeinschaft, Lieferanten, Aufsichtsbehörden).</a:t>
            </a:r>
          </a:p>
          <a:p>
            <a:pPr algn="just"/>
            <a:r>
              <a:rPr lang="en-GB" sz="1800" b="1" dirty="0"/>
              <a:t>Engagement-Strategie: </a:t>
            </a:r>
            <a:r>
              <a:rPr lang="en-GB" sz="1800" dirty="0"/>
              <a:t>Entwicklung von Ansätzen zur Einbeziehung von Interessengruppen in die Nachhaltigkeitsbemühungen.</a:t>
            </a:r>
          </a:p>
          <a:p>
            <a:pPr algn="just"/>
            <a:r>
              <a:rPr lang="en-GB" sz="1800" b="1" dirty="0"/>
              <a:t>Aktionsplan: </a:t>
            </a:r>
            <a:r>
              <a:rPr lang="en-GB" sz="1800" dirty="0"/>
              <a:t>Skizzieren Sie Schritte zur Umsetzung von Engagementstrategien.</a:t>
            </a:r>
          </a:p>
          <a:p>
            <a:pPr algn="just"/>
            <a:r>
              <a:rPr lang="en-GB" sz="1800" b="1" dirty="0"/>
              <a:t>Reflexion: </a:t>
            </a:r>
            <a:r>
              <a:rPr lang="en-GB" sz="1800" dirty="0"/>
              <a:t>Besprechen Sie die Wirksamkeit und mögliche Verbesserungen.</a:t>
            </a:r>
          </a:p>
          <a:p>
            <a:pPr algn="just"/>
            <a:endParaRPr lang="en-GB" sz="1800" dirty="0"/>
          </a:p>
          <a:p>
            <a:pPr algn="just"/>
            <a:r>
              <a:rPr lang="en-GB" sz="1800" b="1" dirty="0"/>
              <a:t>Ergebnis: </a:t>
            </a:r>
            <a:r>
              <a:rPr lang="en-GB" sz="1800" dirty="0"/>
              <a:t>Verbesserte Fähigkeiten im Stakeholder-Management für nachhaltige Initiativen.</a:t>
            </a:r>
            <a:endParaRPr lang="en-IE" sz="1800" dirty="0"/>
          </a:p>
          <a:p>
            <a:endParaRPr lang="en-IE" sz="1800" dirty="0"/>
          </a:p>
        </p:txBody>
      </p:sp>
      <p:pic>
        <p:nvPicPr>
          <p:cNvPr id="2" name="Picture Placeholder 5" descr="Two cute robots">
            <a:extLst>
              <a:ext uri="{FF2B5EF4-FFF2-40B4-BE49-F238E27FC236}">
                <a16:creationId xmlns:a16="http://schemas.microsoft.com/office/drawing/2014/main" id="{ED2AC586-A540-27F0-07FD-674F38F33083}"/>
              </a:ext>
            </a:extLst>
          </p:cNvPr>
          <p:cNvPicPr>
            <a:picLocks noGrp="1" noChangeAspect="1"/>
          </p:cNvPicPr>
          <p:nvPr>
            <p:ph type="pic" sz="quarter" idx="21"/>
          </p:nvPr>
        </p:nvPicPr>
        <p:blipFill rotWithShape="1">
          <a:blip r:embed="rId5" cstate="email">
            <a:extLst>
              <a:ext uri="{28A0092B-C50C-407E-A947-70E740481C1C}">
                <a14:useLocalDpi xmlns:a14="http://schemas.microsoft.com/office/drawing/2010/main"/>
              </a:ext>
            </a:extLst>
          </a:blip>
          <a:srcRect l="29518" r="29518"/>
          <a:stretch/>
        </p:blipFill>
        <p:spPr>
          <a:xfrm>
            <a:off x="-103188" y="0"/>
            <a:ext cx="4994276" cy="6858000"/>
          </a:xfrm>
        </p:spPr>
      </p:pic>
      <p:sp>
        <p:nvSpPr>
          <p:cNvPr id="3" name="Text Placeholder 2">
            <a:extLst>
              <a:ext uri="{FF2B5EF4-FFF2-40B4-BE49-F238E27FC236}">
                <a16:creationId xmlns:a16="http://schemas.microsoft.com/office/drawing/2014/main" id="{1FF76524-1BDF-8894-8445-E86433CF07C6}"/>
              </a:ext>
            </a:extLst>
          </p:cNvPr>
          <p:cNvSpPr>
            <a:spLocks noGrp="1"/>
          </p:cNvSpPr>
          <p:nvPr>
            <p:ph type="body" sz="quarter" idx="30"/>
          </p:nvPr>
        </p:nvSpPr>
        <p:spPr>
          <a:xfrm>
            <a:off x="4580403" y="394850"/>
            <a:ext cx="6776598" cy="842867"/>
          </a:xfrm>
        </p:spPr>
        <p:txBody>
          <a:bodyPr/>
          <a:lstStyle/>
          <a:p>
            <a:r>
              <a:rPr lang="en-IE" dirty="0"/>
              <a:t>PRAKTISCHE ÜBUNG</a:t>
            </a:r>
          </a:p>
        </p:txBody>
      </p:sp>
    </p:spTree>
    <p:extLst>
      <p:ext uri="{BB962C8B-B14F-4D97-AF65-F5344CB8AC3E}">
        <p14:creationId xmlns:p14="http://schemas.microsoft.com/office/powerpoint/2010/main" val="2788673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560353"/>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9: Industrie, Innovation und Infrastruktur</a:t>
            </a:r>
            <a:r>
              <a:rPr lang="en-GB" sz="2000" b="1" dirty="0"/>
              <a:t>: </a:t>
            </a:r>
            <a:r>
              <a:rPr lang="en-GB" sz="2000" dirty="0"/>
              <a:t>Untersucht innovative technologische Aspekte der Online-Präsenz und betont die Rolle der digitalen Infrastruktur für nachhaltige Geschäftspraktik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1: Nachhaltige Städte und Gemeinden</a:t>
            </a:r>
            <a:r>
              <a:rPr lang="en-GB" sz="2000" b="1" dirty="0"/>
              <a:t>: </a:t>
            </a:r>
            <a:r>
              <a:rPr lang="en-GB" sz="2000" dirty="0"/>
              <a:t>Hervorhebung der Bedeutung der Online-Präsenz für das Engagement der Gemeinschaft und die Schaffung einer nachhaltigen Stadtentwicklung durch digitale Konnektivität.</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Fördert die nachhaltige und verantwortungsvolle Erstellung von Inhalten und ermutigt Unternehmen, nachhaltige Verbrauchspraktiken online zu kommunizieren und zu fördern.</a:t>
            </a:r>
          </a:p>
        </p:txBody>
      </p:sp>
      <p:pic>
        <p:nvPicPr>
          <p:cNvPr id="4" name="Picture 2">
            <a:extLst>
              <a:ext uri="{FF2B5EF4-FFF2-40B4-BE49-F238E27FC236}">
                <a16:creationId xmlns:a16="http://schemas.microsoft.com/office/drawing/2014/main" id="{39FC184D-4A40-BB32-C0EE-94F91AF2947F}"/>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680893" y="5655483"/>
            <a:ext cx="1057013" cy="1057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58987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5" y="674010"/>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5" y="1560353"/>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13: Klimapolitik</a:t>
            </a:r>
            <a:r>
              <a:rPr lang="en-GB" sz="2000" b="1" dirty="0"/>
              <a:t>: </a:t>
            </a:r>
            <a:r>
              <a:rPr lang="en-GB" sz="2000" dirty="0"/>
              <a:t>Vermittlung von klimafreundlichen Praktiken durch Online-Inhalte, Unterstützung von Initiativen zur Förderung der Klimaresilienz und der Bemühungen zur Reduzierung des Klimawandels.</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7: Partnerschaften für die Ziele</a:t>
            </a:r>
            <a:r>
              <a:rPr lang="en-GB" sz="2000" b="1" dirty="0"/>
              <a:t>: </a:t>
            </a:r>
            <a:r>
              <a:rPr lang="en-GB" sz="2000" dirty="0"/>
              <a:t>Betont die Zusammenarbeit durch soziale Medien für nachhaltige Partnerschaften und fördert die sektorübergreifende Zusammenarbeit zur Erreichung der Nachhaltigkeitsziele.</a:t>
            </a:r>
            <a:endParaRPr lang="en-IE" sz="2000" dirty="0"/>
          </a:p>
        </p:txBody>
      </p:sp>
      <p:pic>
        <p:nvPicPr>
          <p:cNvPr id="4" name="Picture 2">
            <a:extLst>
              <a:ext uri="{FF2B5EF4-FFF2-40B4-BE49-F238E27FC236}">
                <a16:creationId xmlns:a16="http://schemas.microsoft.com/office/drawing/2014/main" id="{11B271C2-4B56-4177-B393-219B9C72660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883942" y="4358082"/>
            <a:ext cx="1677796" cy="1677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427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dirty="0"/>
              <a:t>ENTRECOMP-AUSRICHTUNG</a:t>
            </a:r>
            <a:endParaRPr lang="en-IE"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560353"/>
            <a:ext cx="10483429" cy="4743778"/>
          </a:xfrm>
        </p:spPr>
        <p:txBody>
          <a:bodyPr/>
          <a:lstStyle/>
          <a:p>
            <a:pPr algn="just"/>
            <a:r>
              <a:rPr lang="en-GB" b="1" dirty="0"/>
              <a:t>2.1 Selbstwahrnehmung und Selbstwirksamkeit: </a:t>
            </a:r>
            <a:r>
              <a:rPr lang="en-GB" dirty="0"/>
              <a:t>Ermutigt Einzelpersonen, ihre nachhaltigen Unternehmungen wirksam zu fördern und Verantwortung für ihre digitale Präsenz zu übernehmen.</a:t>
            </a:r>
          </a:p>
          <a:p>
            <a:pPr algn="just"/>
            <a:endParaRPr lang="en-GB" b="1" dirty="0"/>
          </a:p>
          <a:p>
            <a:pPr algn="just"/>
            <a:r>
              <a:rPr lang="en-GB" b="1" dirty="0"/>
              <a:t>3.1 Ergreifen der Initiative: </a:t>
            </a:r>
            <a:r>
              <a:rPr lang="en-GB" dirty="0"/>
              <a:t>Fördert die Initiative bei der Ermittlung von Online-Möglichkeiten, beim Treffen strategischer Entscheidungen und bei der eigenständigen Verwaltung digitaler Strategien.</a:t>
            </a:r>
          </a:p>
          <a:p>
            <a:pPr algn="just"/>
            <a:endParaRPr lang="en-GB" b="1" dirty="0"/>
          </a:p>
          <a:p>
            <a:pPr algn="just"/>
            <a:r>
              <a:rPr lang="en-GB" b="1" dirty="0"/>
              <a:t>3.3 Umgang mit Unsicherheit, Mehrdeutigkeit und Risiko: </a:t>
            </a:r>
            <a:r>
              <a:rPr lang="en-GB" dirty="0"/>
              <a:t>Entwicklung von Fähigkeiten zum Risikomanagement und zur Entscheidungsfindung im Zusammenhang mit digitaler Präsenz und Online-Strategien.</a:t>
            </a:r>
            <a:endParaRPr lang="en-IE" dirty="0"/>
          </a:p>
        </p:txBody>
      </p:sp>
      <p:pic>
        <p:nvPicPr>
          <p:cNvPr id="4" name="Picture 3">
            <a:extLst>
              <a:ext uri="{FF2B5EF4-FFF2-40B4-BE49-F238E27FC236}">
                <a16:creationId xmlns:a16="http://schemas.microsoft.com/office/drawing/2014/main" id="{41C710F3-AC8B-6C4E-4649-DDD37231968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43625" y="550054"/>
            <a:ext cx="1547501" cy="860600"/>
          </a:xfrm>
          <a:prstGeom prst="rect">
            <a:avLst/>
          </a:prstGeom>
        </p:spPr>
      </p:pic>
    </p:spTree>
    <p:extLst>
      <p:ext uri="{BB962C8B-B14F-4D97-AF65-F5344CB8AC3E}">
        <p14:creationId xmlns:p14="http://schemas.microsoft.com/office/powerpoint/2010/main" val="27369329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D2F170FE-3A5B-C90D-67FA-4A98CD791933}"/>
              </a:ext>
            </a:extLst>
          </p:cNvPr>
          <p:cNvGraphicFramePr>
            <a:graphicFrameLocks noChangeAspect="1"/>
          </p:cNvGraphicFramePr>
          <p:nvPr>
            <p:custDataLst>
              <p:tags r:id="rId1"/>
            </p:custDataLst>
            <p:extLst>
              <p:ext uri="{D42A27DB-BD31-4B8C-83A1-F6EECF244321}">
                <p14:modId xmlns:p14="http://schemas.microsoft.com/office/powerpoint/2010/main" val="2250202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180ACFC8-5BAC-68DB-C058-BAA52B66A4BC}"/>
              </a:ext>
            </a:extLst>
          </p:cNvPr>
          <p:cNvSpPr>
            <a:spLocks noGrp="1"/>
          </p:cNvSpPr>
          <p:nvPr>
            <p:ph type="body" sz="quarter" idx="48"/>
          </p:nvPr>
        </p:nvSpPr>
        <p:spPr>
          <a:xfrm>
            <a:off x="6484442" y="2229347"/>
            <a:ext cx="4939670" cy="3889855"/>
          </a:xfrm>
        </p:spPr>
        <p:txBody>
          <a:bodyPr/>
          <a:lstStyle/>
          <a:p>
            <a:pPr algn="just"/>
            <a:r>
              <a:rPr lang="en-GB" sz="2200" b="1" i="0" dirty="0">
                <a:effectLst/>
                <a:highlight>
                  <a:srgbClr val="FFFFFF"/>
                </a:highlight>
                <a:latin typeface="var(--artdeco-reset-typography-font-family-sans)"/>
                <a:hlinkClick r:id="rId5"/>
              </a:rPr>
              <a:t>Die Auswirkungen der Online-Präsenz auf das Unternehmenswachstum</a:t>
            </a:r>
            <a:endParaRPr lang="en-GB" sz="2200" i="0" dirty="0">
              <a:effectLst/>
              <a:highlight>
                <a:srgbClr val="FFFFFF"/>
              </a:highlight>
              <a:latin typeface="var(--artdeco-reset-typography-font-family-sans)"/>
            </a:endParaRPr>
          </a:p>
          <a:p>
            <a:pPr algn="just"/>
            <a:endParaRPr lang="en-GB" sz="2200" dirty="0">
              <a:highlight>
                <a:srgbClr val="FFFFFF"/>
              </a:highlight>
              <a:latin typeface="var(--artdeco-reset-typography-font-family-sans)"/>
            </a:endParaRPr>
          </a:p>
          <a:p>
            <a:pPr algn="just"/>
            <a:r>
              <a:rPr lang="en-GB" sz="2200" b="1" dirty="0">
                <a:highlight>
                  <a:srgbClr val="FFFFFF"/>
                </a:highlight>
                <a:latin typeface="var(--artdeco-reset-typography-font-family-sans)"/>
                <a:hlinkClick r:id="rId6"/>
              </a:rPr>
              <a:t>Nachhaltigkeit im Social Media Marketing: 7 Strategien zur Förderung Ihrer umweltbewussten Marke </a:t>
            </a:r>
            <a:endParaRPr lang="en-GB" sz="2200" dirty="0">
              <a:highlight>
                <a:srgbClr val="FFFFFF"/>
              </a:highlight>
              <a:latin typeface="var(--artdeco-reset-typography-font-family-sans)"/>
            </a:endParaRPr>
          </a:p>
          <a:p>
            <a:pPr algn="just"/>
            <a:endParaRPr lang="en-GB" sz="2200" i="0" dirty="0">
              <a:effectLst/>
              <a:highlight>
                <a:srgbClr val="FFFFFF"/>
              </a:highlight>
              <a:latin typeface="-apple-system"/>
            </a:endParaRPr>
          </a:p>
        </p:txBody>
      </p:sp>
      <p:grpSp>
        <p:nvGrpSpPr>
          <p:cNvPr id="2" name="Graphic 4">
            <a:extLst>
              <a:ext uri="{FF2B5EF4-FFF2-40B4-BE49-F238E27FC236}">
                <a16:creationId xmlns:a16="http://schemas.microsoft.com/office/drawing/2014/main" id="{CE31FC41-D6DE-80BC-418B-204BBBA58334}"/>
              </a:ext>
            </a:extLst>
          </p:cNvPr>
          <p:cNvGrpSpPr/>
          <p:nvPr/>
        </p:nvGrpSpPr>
        <p:grpSpPr>
          <a:xfrm rot="19582332">
            <a:off x="10447712" y="754468"/>
            <a:ext cx="403667" cy="780438"/>
            <a:chOff x="9129274" y="2719113"/>
            <a:chExt cx="717139" cy="1386497"/>
          </a:xfrm>
          <a:solidFill>
            <a:srgbClr val="09465E"/>
          </a:solidFill>
        </p:grpSpPr>
        <p:grpSp>
          <p:nvGrpSpPr>
            <p:cNvPr id="5" name="Graphic 4">
              <a:extLst>
                <a:ext uri="{FF2B5EF4-FFF2-40B4-BE49-F238E27FC236}">
                  <a16:creationId xmlns:a16="http://schemas.microsoft.com/office/drawing/2014/main" id="{29D0E22F-0F51-3C3A-88E5-EC94496FFB21}"/>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005DFCE0-18D3-B5CD-28A5-060A50DA2DA8}"/>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79C71150-501B-86BD-0ED5-594F9A6A848E}"/>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6" name="Graphic 4">
              <a:extLst>
                <a:ext uri="{FF2B5EF4-FFF2-40B4-BE49-F238E27FC236}">
                  <a16:creationId xmlns:a16="http://schemas.microsoft.com/office/drawing/2014/main" id="{B4C9F16A-7669-D86E-4A82-90D3612F2132}"/>
                </a:ext>
              </a:extLst>
            </p:cNvPr>
            <p:cNvGrpSpPr/>
            <p:nvPr/>
          </p:nvGrpSpPr>
          <p:grpSpPr>
            <a:xfrm>
              <a:off x="9129274" y="2893887"/>
              <a:ext cx="717139" cy="1211724"/>
              <a:chOff x="9129274" y="2893887"/>
              <a:chExt cx="717139" cy="1211724"/>
            </a:xfrm>
            <a:grpFill/>
          </p:grpSpPr>
          <p:sp>
            <p:nvSpPr>
              <p:cNvPr id="7" name="Freeform 50">
                <a:extLst>
                  <a:ext uri="{FF2B5EF4-FFF2-40B4-BE49-F238E27FC236}">
                    <a16:creationId xmlns:a16="http://schemas.microsoft.com/office/drawing/2014/main" id="{D7D67502-C2B3-6215-CFFE-0B529BDD274A}"/>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10574877-988B-702B-E17A-BF0F5235D243}"/>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17153180-C5DE-CC32-3726-FA43FC5EE04D}"/>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BF335053-3018-90ED-CB05-8053774038EA}"/>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43118019-A916-55D0-27A0-A571A92617D0}"/>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780C8944-CA5C-8BA1-E94F-D52E7AF8CF15}"/>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BA3DC0AF-C77F-932E-01F1-D491B20FA151}"/>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pic>
        <p:nvPicPr>
          <p:cNvPr id="8" name="Picture Placeholder 7">
            <a:extLst>
              <a:ext uri="{FF2B5EF4-FFF2-40B4-BE49-F238E27FC236}">
                <a16:creationId xmlns:a16="http://schemas.microsoft.com/office/drawing/2014/main" id="{151F7EE9-6F81-D71D-BD90-D7F2342F043E}"/>
              </a:ext>
            </a:extLst>
          </p:cNvPr>
          <p:cNvPicPr>
            <a:picLocks noGrp="1" noChangeAspect="1"/>
          </p:cNvPicPr>
          <p:nvPr>
            <p:ph type="pic" sz="quarter" idx="21"/>
          </p:nvPr>
        </p:nvPicPr>
        <p:blipFill rotWithShape="1">
          <a:blip r:embed="rId7"/>
          <a:srcRect l="17594" r="17594"/>
          <a:stretch/>
        </p:blipFill>
        <p:spPr>
          <a:xfrm>
            <a:off x="884238" y="0"/>
            <a:ext cx="4994275" cy="6858000"/>
          </a:xfrm>
        </p:spPr>
      </p:pic>
      <p:sp>
        <p:nvSpPr>
          <p:cNvPr id="3" name="Text Placeholder 2">
            <a:extLst>
              <a:ext uri="{FF2B5EF4-FFF2-40B4-BE49-F238E27FC236}">
                <a16:creationId xmlns:a16="http://schemas.microsoft.com/office/drawing/2014/main" id="{CA3B51A3-DEEC-6CC6-D5F9-1C2C631D895E}"/>
              </a:ext>
            </a:extLst>
          </p:cNvPr>
          <p:cNvSpPr>
            <a:spLocks noGrp="1"/>
          </p:cNvSpPr>
          <p:nvPr>
            <p:ph type="body" sz="quarter" idx="30"/>
          </p:nvPr>
        </p:nvSpPr>
        <p:spPr/>
        <p:txBody>
          <a:bodyPr/>
          <a:lstStyle/>
          <a:p>
            <a:r>
              <a:rPr lang="en-IE" dirty="0"/>
              <a:t>Weitere Ressourcen</a:t>
            </a:r>
          </a:p>
        </p:txBody>
      </p:sp>
    </p:spTree>
    <p:extLst>
      <p:ext uri="{BB962C8B-B14F-4D97-AF65-F5344CB8AC3E}">
        <p14:creationId xmlns:p14="http://schemas.microsoft.com/office/powerpoint/2010/main" val="1831890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F8FE214-4C90-D73B-EF82-4BFB9A0C32F0}"/>
              </a:ext>
            </a:extLst>
          </p:cNvPr>
          <p:cNvGraphicFramePr>
            <a:graphicFrameLocks noChangeAspect="1"/>
          </p:cNvGraphicFramePr>
          <p:nvPr>
            <p:custDataLst>
              <p:tags r:id="rId1"/>
            </p:custDataLst>
            <p:extLst>
              <p:ext uri="{D42A27DB-BD31-4B8C-83A1-F6EECF244321}">
                <p14:modId xmlns:p14="http://schemas.microsoft.com/office/powerpoint/2010/main" val="130906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EA9DD38B-6E14-C94C-91D7-C8452BCE4312}"/>
              </a:ext>
            </a:extLst>
          </p:cNvPr>
          <p:cNvSpPr>
            <a:spLocks noGrp="1"/>
          </p:cNvSpPr>
          <p:nvPr>
            <p:ph type="sldNum" sz="quarter" idx="4294967295"/>
          </p:nvPr>
        </p:nvSpPr>
        <p:spPr>
          <a:xfrm>
            <a:off x="11615738" y="11444288"/>
            <a:ext cx="576262" cy="430212"/>
          </a:xfrm>
          <a:prstGeom prst="rect">
            <a:avLst/>
          </a:prstGeom>
        </p:spPr>
        <p:txBody>
          <a:bodyPr/>
          <a:lstStyle/>
          <a:p>
            <a:fld id="{CB2079F2-58AF-ED44-82D7-E04B2F6FD686}" type="slidenum">
              <a:rPr lang="en-US" smtClean="0"/>
              <a:t>37</a:t>
            </a:fld>
            <a:endParaRPr lang="en-US" dirty="0"/>
          </a:p>
        </p:txBody>
      </p:sp>
      <p:sp>
        <p:nvSpPr>
          <p:cNvPr id="8" name="Bildplatzhalter 7">
            <a:extLst>
              <a:ext uri="{FF2B5EF4-FFF2-40B4-BE49-F238E27FC236}">
                <a16:creationId xmlns:a16="http://schemas.microsoft.com/office/drawing/2014/main" id="{3EB2D31C-1B56-FA9F-CB01-36255FCA5A08}"/>
              </a:ext>
            </a:extLst>
          </p:cNvPr>
          <p:cNvSpPr>
            <a:spLocks noGrp="1"/>
          </p:cNvSpPr>
          <p:nvPr>
            <p:ph type="pic" sz="quarter" idx="22"/>
          </p:nvPr>
        </p:nvSpPr>
        <p:spPr/>
        <p:txBody>
          <a:bodyPr/>
          <a:lstStyle/>
          <a:p>
            <a:endParaRPr lang="de-DE" dirty="0"/>
          </a:p>
        </p:txBody>
      </p:sp>
      <p:pic>
        <p:nvPicPr>
          <p:cNvPr id="2" name="Picture Placeholder 12">
            <a:extLst>
              <a:ext uri="{FF2B5EF4-FFF2-40B4-BE49-F238E27FC236}">
                <a16:creationId xmlns:a16="http://schemas.microsoft.com/office/drawing/2014/main" id="{03CA88D1-71BB-C02E-94D8-D8112686DBA0}"/>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16950" b="16950"/>
          <a:stretch>
            <a:fillRect/>
          </a:stretch>
        </p:blipFill>
        <p:spPr>
          <a:xfrm>
            <a:off x="773113" y="566738"/>
            <a:ext cx="4656137" cy="2052637"/>
          </a:xfrm>
        </p:spPr>
      </p:pic>
      <p:pic>
        <p:nvPicPr>
          <p:cNvPr id="5" name="Picture Placeholder 16" descr="Video camera recording person baking with blueberries">
            <a:extLst>
              <a:ext uri="{FF2B5EF4-FFF2-40B4-BE49-F238E27FC236}">
                <a16:creationId xmlns:a16="http://schemas.microsoft.com/office/drawing/2014/main" id="{FD265AE7-F403-0039-127A-04713A141B6A}"/>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15231" r="15231"/>
          <a:stretch/>
        </p:blipFill>
        <p:spPr>
          <a:xfrm>
            <a:off x="5675313" y="546100"/>
            <a:ext cx="5883275" cy="5640388"/>
          </a:xfrm>
        </p:spPr>
      </p:pic>
      <p:pic>
        <p:nvPicPr>
          <p:cNvPr id="7" name="Picture Placeholder 14" descr="Recycling arrows chat icon">
            <a:extLst>
              <a:ext uri="{FF2B5EF4-FFF2-40B4-BE49-F238E27FC236}">
                <a16:creationId xmlns:a16="http://schemas.microsoft.com/office/drawing/2014/main" id="{90FDC7EF-AAFE-2A9D-FE8B-1547F5AD3345}"/>
              </a:ext>
            </a:extLst>
          </p:cNvPr>
          <p:cNvPicPr>
            <a:picLocks noChangeAspect="1"/>
          </p:cNvPicPr>
          <p:nvPr/>
        </p:nvPicPr>
        <p:blipFill>
          <a:blip r:embed="rId7" cstate="email">
            <a:extLst>
              <a:ext uri="{28A0092B-C50C-407E-A947-70E740481C1C}">
                <a14:useLocalDpi xmlns:a14="http://schemas.microsoft.com/office/drawing/2010/main"/>
              </a:ext>
            </a:extLst>
          </a:blip>
          <a:srcRect l="6492" r="6492"/>
          <a:stretch/>
        </p:blipFill>
        <p:spPr>
          <a:xfrm>
            <a:off x="773723" y="2843169"/>
            <a:ext cx="4654800" cy="3343370"/>
          </a:xfrm>
          <a:custGeom>
            <a:avLst/>
            <a:gdLst>
              <a:gd name="connsiteX0" fmla="*/ 0 w 4654800"/>
              <a:gd name="connsiteY0" fmla="*/ 0 h 3343370"/>
              <a:gd name="connsiteX1" fmla="*/ 4654800 w 4654800"/>
              <a:gd name="connsiteY1" fmla="*/ 0 h 3343370"/>
              <a:gd name="connsiteX2" fmla="*/ 4654800 w 4654800"/>
              <a:gd name="connsiteY2" fmla="*/ 3343370 h 3343370"/>
              <a:gd name="connsiteX3" fmla="*/ 0 w 4654800"/>
              <a:gd name="connsiteY3" fmla="*/ 3343370 h 3343370"/>
              <a:gd name="connsiteX4" fmla="*/ 0 w 4654800"/>
              <a:gd name="connsiteY4" fmla="*/ 2836855 h 3343370"/>
              <a:gd name="connsiteX5" fmla="*/ 245549 w 4654800"/>
              <a:gd name="connsiteY5" fmla="*/ 2836855 h 3343370"/>
              <a:gd name="connsiteX6" fmla="*/ 245549 w 4654800"/>
              <a:gd name="connsiteY6" fmla="*/ 1396854 h 3343370"/>
              <a:gd name="connsiteX7" fmla="*/ 0 w 4654800"/>
              <a:gd name="connsiteY7" fmla="*/ 1396854 h 334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4800" h="3343370">
                <a:moveTo>
                  <a:pt x="0" y="0"/>
                </a:moveTo>
                <a:lnTo>
                  <a:pt x="4654800" y="0"/>
                </a:lnTo>
                <a:lnTo>
                  <a:pt x="4654800" y="3343370"/>
                </a:lnTo>
                <a:lnTo>
                  <a:pt x="0" y="3343370"/>
                </a:lnTo>
                <a:lnTo>
                  <a:pt x="0" y="2836855"/>
                </a:lnTo>
                <a:lnTo>
                  <a:pt x="245549" y="2836855"/>
                </a:lnTo>
                <a:lnTo>
                  <a:pt x="245549" y="1396854"/>
                </a:lnTo>
                <a:lnTo>
                  <a:pt x="0" y="1396854"/>
                </a:lnTo>
                <a:close/>
              </a:path>
            </a:pathLst>
          </a:custGeom>
          <a:solidFill>
            <a:schemeClr val="bg1">
              <a:lumMod val="85000"/>
            </a:schemeClr>
          </a:solidFill>
        </p:spPr>
      </p:pic>
      <p:pic>
        <p:nvPicPr>
          <p:cNvPr id="9" name="Picture Placeholder 16" descr="Video camera recording person baking with blueberries">
            <a:extLst>
              <a:ext uri="{FF2B5EF4-FFF2-40B4-BE49-F238E27FC236}">
                <a16:creationId xmlns:a16="http://schemas.microsoft.com/office/drawing/2014/main" id="{EBF44411-F041-C004-7F47-811CCA2A19D2}"/>
              </a:ext>
            </a:extLst>
          </p:cNvPr>
          <p:cNvPicPr>
            <a:picLocks noChangeAspect="1"/>
          </p:cNvPicPr>
          <p:nvPr/>
        </p:nvPicPr>
        <p:blipFill>
          <a:blip r:embed="rId6" cstate="email">
            <a:extLst>
              <a:ext uri="{28A0092B-C50C-407E-A947-70E740481C1C}">
                <a14:useLocalDpi xmlns:a14="http://schemas.microsoft.com/office/drawing/2010/main"/>
              </a:ext>
            </a:extLst>
          </a:blip>
          <a:srcRect l="15222" r="15222"/>
          <a:stretch/>
        </p:blipFill>
        <p:spPr>
          <a:xfrm>
            <a:off x="5674559" y="546533"/>
            <a:ext cx="5884396" cy="5640006"/>
          </a:xfrm>
          <a:prstGeom prst="rect">
            <a:avLst/>
          </a:prstGeom>
          <a:solidFill>
            <a:schemeClr val="bg1">
              <a:lumMod val="85000"/>
            </a:schemeClr>
          </a:solidFill>
        </p:spPr>
      </p:pic>
      <p:grpSp>
        <p:nvGrpSpPr>
          <p:cNvPr id="18" name="Group 17">
            <a:extLst>
              <a:ext uri="{FF2B5EF4-FFF2-40B4-BE49-F238E27FC236}">
                <a16:creationId xmlns:a16="http://schemas.microsoft.com/office/drawing/2014/main" id="{7740FAE1-2E8A-BBC1-A4F8-99E701F4D28E}"/>
              </a:ext>
            </a:extLst>
          </p:cNvPr>
          <p:cNvGrpSpPr/>
          <p:nvPr/>
        </p:nvGrpSpPr>
        <p:grpSpPr>
          <a:xfrm>
            <a:off x="7365842" y="4864913"/>
            <a:ext cx="4269146" cy="1993087"/>
            <a:chOff x="-1871944" y="1778846"/>
            <a:chExt cx="1736764" cy="810823"/>
          </a:xfrm>
        </p:grpSpPr>
        <p:sp>
          <p:nvSpPr>
            <p:cNvPr id="19" name="Freeform 18">
              <a:extLst>
                <a:ext uri="{FF2B5EF4-FFF2-40B4-BE49-F238E27FC236}">
                  <a16:creationId xmlns:a16="http://schemas.microsoft.com/office/drawing/2014/main" id="{A98D6365-C89B-4191-C731-580C53F51258}"/>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solidFill>
              <a:srgbClr val="F99F27"/>
            </a:solidFill>
            <a:ln w="2428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2987FED-3417-F6D8-8342-0819CC26E3BD}"/>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solidFill>
              <a:srgbClr val="60BA47"/>
            </a:solidFill>
            <a:ln w="2428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51D37FA7-DEFE-94C2-2CCE-E400C17C11FA}"/>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solidFill>
              <a:srgbClr val="2094D2"/>
            </a:solidFill>
            <a:ln w="2428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6BDA371D-6FB5-8FFF-508C-5C093EEAE4B7}"/>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solidFill>
              <a:srgbClr val="A21C48"/>
            </a:solidFill>
            <a:ln w="2428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31C4F72-AE0F-473A-0F62-762B04CCA759}"/>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solidFill>
              <a:srgbClr val="DB176A"/>
            </a:solidFill>
            <a:ln w="2428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99527BE-E83E-A017-EBD3-D52839EB7BB1}"/>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solidFill>
              <a:srgbClr val="F36C2F"/>
            </a:solid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34743713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Person reading a book">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6849" b="6849"/>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200" y="1160888"/>
            <a:ext cx="3113515" cy="2850370"/>
          </a:xfrm>
        </p:spPr>
        <p:txBody>
          <a:bodyPr/>
          <a:lstStyle/>
          <a:p>
            <a:r>
              <a:rPr lang="en-US" b="1" dirty="0"/>
              <a:t>STORYTELLING FÜR NACHHALTIGKEIT</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4</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9285544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39</a:t>
            </a:fld>
            <a:endParaRPr lang="en-US" sz="1291" dirty="0"/>
          </a:p>
        </p:txBody>
      </p:sp>
      <p:pic>
        <p:nvPicPr>
          <p:cNvPr id="9" name="Picture Placeholder 8" descr="Open book with pen on desk">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787" r="25787"/>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204952"/>
            <a:ext cx="7012171" cy="860450"/>
          </a:xfrm>
        </p:spPr>
        <p:txBody>
          <a:bodyPr/>
          <a:lstStyle/>
          <a:p>
            <a:r>
              <a:rPr lang="en-GB" sz="3200" dirty="0"/>
              <a:t>DIE MACHT DES GESCHICHTENERZÄHLENS</a:t>
            </a:r>
            <a:endParaRPr lang="en-US" sz="3200"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492210" y="1370814"/>
            <a:ext cx="4939670" cy="4016287"/>
          </a:xfrm>
        </p:spPr>
        <p:txBody>
          <a:bodyPr/>
          <a:lstStyle/>
          <a:p>
            <a:pPr algn="just"/>
            <a:r>
              <a:rPr lang="en-GB" sz="2000" dirty="0"/>
              <a:t>Das Erzählen von Geschichten ist ein wirkungsvolles Instrument, um Nachhaltigkeitsbotschaften zu vermitteln und eine tiefe emotionale Verbindung zu den Stakeholdern herzustellen. </a:t>
            </a:r>
          </a:p>
          <a:p>
            <a:pPr algn="just"/>
            <a:endParaRPr lang="en-GB" sz="2000" dirty="0"/>
          </a:p>
          <a:p>
            <a:pPr algn="just"/>
            <a:r>
              <a:rPr lang="en-GB" sz="2000" dirty="0"/>
              <a:t>Effektives Storytelling kann komplexe Nachhaltigkeitsthemen greifbarer machen und die Menschen zum Handeln anregen. </a:t>
            </a:r>
          </a:p>
          <a:p>
            <a:pPr algn="just"/>
            <a:endParaRPr lang="en-GB" sz="2000" dirty="0"/>
          </a:p>
          <a:p>
            <a:pPr algn="just"/>
            <a:r>
              <a:rPr lang="en-GB" sz="2000" dirty="0"/>
              <a:t>Indem sie Fakten und Daten in ihre Erzählungen einfließen lassen, können Unternehmen ihre Nachhaltigkeitsbemühungen hervorheben, ihr Engagement für positive Veränderungen demonstrieren und ihr Publikum auf einer tieferen Ebene ansprechen.</a:t>
            </a:r>
          </a:p>
          <a:p>
            <a:pPr algn="just"/>
            <a:endParaRPr lang="en-GB" sz="1600" dirty="0"/>
          </a:p>
        </p:txBody>
      </p:sp>
    </p:spTree>
    <p:extLst>
      <p:ext uri="{BB962C8B-B14F-4D97-AF65-F5344CB8AC3E}">
        <p14:creationId xmlns:p14="http://schemas.microsoft.com/office/powerpoint/2010/main" val="29320758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2" y="628212"/>
            <a:ext cx="10483431" cy="804265"/>
          </a:xfrm>
        </p:spPr>
        <p:txBody>
          <a:bodyPr/>
          <a:lstStyle/>
          <a:p>
            <a:r>
              <a:rPr lang="en-GB" dirty="0"/>
              <a:t>EINFÜHRUNG IN DIE MARKTANALYSE FÜR NACHHALTIGE UNTERNEHMUNGEN</a:t>
            </a:r>
            <a:endParaRPr lang="en-US"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2" y="1990388"/>
            <a:ext cx="10483429" cy="4439577"/>
          </a:xfrm>
        </p:spPr>
        <p:txBody>
          <a:bodyPr/>
          <a:lstStyle/>
          <a:p>
            <a:pPr algn="just"/>
            <a:r>
              <a:rPr lang="en-GB" b="1" dirty="0"/>
              <a:t>Warum die Marktanalyse wichtig ist</a:t>
            </a:r>
          </a:p>
          <a:p>
            <a:pPr algn="just"/>
            <a:r>
              <a:rPr lang="en-GB" dirty="0"/>
              <a:t>Die Marktanalyse ist ein wichtiger Faktor für Unternehmen, die nachhaltige Geschäftsmöglichkeiten erkennen und die Präferenzen der Verbraucher in der heutigen Marktlandschaft verstehen wollen.</a:t>
            </a:r>
          </a:p>
          <a:p>
            <a:pPr algn="just"/>
            <a:endParaRPr lang="en-GB" dirty="0"/>
          </a:p>
          <a:p>
            <a:pPr algn="just"/>
            <a:r>
              <a:rPr lang="en-GB" dirty="0"/>
              <a:t>Sie hilft den Unternehmen, das Marktumfeld zu verstehen, einschließlich der Wettbewerbslandschaft und der Verbraucherbedürfnisse.</a:t>
            </a:r>
          </a:p>
          <a:p>
            <a:pPr algn="just">
              <a:buFont typeface="Arial" panose="020B0604020202020204" pitchFamily="34" charset="0"/>
              <a:buChar char="•"/>
            </a:pPr>
            <a:endParaRPr lang="en-GB" dirty="0"/>
          </a:p>
          <a:p>
            <a:pPr algn="just"/>
            <a:r>
              <a:rPr lang="en-GB" dirty="0"/>
              <a:t>Sie ist von entscheidender Bedeutung für die Entwicklung von Strategien, die sich an den Marktanforderungen orientieren und die Nachhaltigkeit des Unternehmens gewährleisten.</a:t>
            </a:r>
          </a:p>
        </p:txBody>
      </p:sp>
      <p:sp>
        <p:nvSpPr>
          <p:cNvPr id="4" name="Freeform 210">
            <a:extLst>
              <a:ext uri="{FF2B5EF4-FFF2-40B4-BE49-F238E27FC236}">
                <a16:creationId xmlns:a16="http://schemas.microsoft.com/office/drawing/2014/main" id="{589BD294-8297-9865-7CAA-E69C93771173}"/>
              </a:ext>
            </a:extLst>
          </p:cNvPr>
          <p:cNvSpPr/>
          <p:nvPr/>
        </p:nvSpPr>
        <p:spPr>
          <a:xfrm>
            <a:off x="10987324" y="784231"/>
            <a:ext cx="104422" cy="284546"/>
          </a:xfrm>
          <a:custGeom>
            <a:avLst/>
            <a:gdLst>
              <a:gd name="connsiteX0" fmla="*/ 22290 w 104422"/>
              <a:gd name="connsiteY0" fmla="*/ 21680 h 284546"/>
              <a:gd name="connsiteX1" fmla="*/ 51196 w 104422"/>
              <a:gd name="connsiteY1" fmla="*/ 65942 h 284546"/>
              <a:gd name="connsiteX2" fmla="*/ 77393 w 104422"/>
              <a:gd name="connsiteY2" fmla="*/ 77685 h 284546"/>
              <a:gd name="connsiteX3" fmla="*/ 103589 w 104422"/>
              <a:gd name="connsiteY3" fmla="*/ 99365 h 284546"/>
              <a:gd name="connsiteX4" fmla="*/ 86426 w 104422"/>
              <a:gd name="connsiteY4" fmla="*/ 140918 h 284546"/>
              <a:gd name="connsiteX5" fmla="*/ 71973 w 104422"/>
              <a:gd name="connsiteY5" fmla="*/ 214087 h 284546"/>
              <a:gd name="connsiteX6" fmla="*/ 91846 w 104422"/>
              <a:gd name="connsiteY6" fmla="*/ 284546 h 284546"/>
              <a:gd name="connsiteX7" fmla="*/ 10547 w 104422"/>
              <a:gd name="connsiteY7" fmla="*/ 0 h 284546"/>
              <a:gd name="connsiteX8" fmla="*/ 22290 w 104422"/>
              <a:gd name="connsiteY8" fmla="*/ 21680 h 28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422" h="284546">
                <a:moveTo>
                  <a:pt x="22290" y="21680"/>
                </a:moveTo>
                <a:cubicBezTo>
                  <a:pt x="32227" y="40649"/>
                  <a:pt x="41260" y="57813"/>
                  <a:pt x="51196" y="65942"/>
                </a:cubicBezTo>
                <a:cubicBezTo>
                  <a:pt x="58423" y="71363"/>
                  <a:pt x="67456" y="74976"/>
                  <a:pt x="77393" y="77685"/>
                </a:cubicBezTo>
                <a:cubicBezTo>
                  <a:pt x="103589" y="85816"/>
                  <a:pt x="106299" y="89429"/>
                  <a:pt x="103589" y="99365"/>
                </a:cubicBezTo>
                <a:cubicBezTo>
                  <a:pt x="100879" y="112012"/>
                  <a:pt x="93652" y="126465"/>
                  <a:pt x="86426" y="140918"/>
                </a:cubicBezTo>
                <a:cubicBezTo>
                  <a:pt x="72876" y="168921"/>
                  <a:pt x="60229" y="195117"/>
                  <a:pt x="71973" y="214087"/>
                </a:cubicBezTo>
                <a:cubicBezTo>
                  <a:pt x="89136" y="241187"/>
                  <a:pt x="91846" y="267383"/>
                  <a:pt x="91846" y="284546"/>
                </a:cubicBezTo>
                <a:cubicBezTo>
                  <a:pt x="13257" y="214087"/>
                  <a:pt x="-18359" y="102075"/>
                  <a:pt x="10547" y="0"/>
                </a:cubicBezTo>
                <a:cubicBezTo>
                  <a:pt x="15063" y="7226"/>
                  <a:pt x="18677" y="14453"/>
                  <a:pt x="22290" y="21680"/>
                </a:cubicBezTo>
                <a:close/>
              </a:path>
            </a:pathLst>
          </a:custGeom>
          <a:solidFill>
            <a:srgbClr val="60BA47"/>
          </a:solidFill>
          <a:ln w="9028" cap="flat">
            <a:noFill/>
            <a:prstDash val="solid"/>
            <a:miter/>
          </a:ln>
        </p:spPr>
        <p:txBody>
          <a:bodyPr rtlCol="0" anchor="ctr"/>
          <a:lstStyle/>
          <a:p>
            <a:endParaRPr lang="en-US"/>
          </a:p>
        </p:txBody>
      </p:sp>
      <p:sp>
        <p:nvSpPr>
          <p:cNvPr id="5" name="Freeform 211">
            <a:extLst>
              <a:ext uri="{FF2B5EF4-FFF2-40B4-BE49-F238E27FC236}">
                <a16:creationId xmlns:a16="http://schemas.microsoft.com/office/drawing/2014/main" id="{65C90EEA-6581-B0E2-F2C3-C227248FDADF}"/>
              </a:ext>
            </a:extLst>
          </p:cNvPr>
          <p:cNvSpPr/>
          <p:nvPr/>
        </p:nvSpPr>
        <p:spPr>
          <a:xfrm>
            <a:off x="11178941" y="623440"/>
            <a:ext cx="351889" cy="398614"/>
          </a:xfrm>
          <a:custGeom>
            <a:avLst/>
            <a:gdLst>
              <a:gd name="connsiteX0" fmla="*/ 351889 w 351889"/>
              <a:gd name="connsiteY0" fmla="*/ 151758 h 398614"/>
              <a:gd name="connsiteX1" fmla="*/ 269687 w 351889"/>
              <a:gd name="connsiteY1" fmla="*/ 221314 h 398614"/>
              <a:gd name="connsiteX2" fmla="*/ 267880 w 351889"/>
              <a:gd name="connsiteY2" fmla="*/ 314356 h 398614"/>
              <a:gd name="connsiteX3" fmla="*/ 208261 w 351889"/>
              <a:gd name="connsiteY3" fmla="*/ 394752 h 398614"/>
              <a:gd name="connsiteX4" fmla="*/ 180258 w 351889"/>
              <a:gd name="connsiteY4" fmla="*/ 392945 h 398614"/>
              <a:gd name="connsiteX5" fmla="*/ 170322 w 351889"/>
              <a:gd name="connsiteY5" fmla="*/ 304419 h 398614"/>
              <a:gd name="connsiteX6" fmla="*/ 152255 w 351889"/>
              <a:gd name="connsiteY6" fmla="*/ 202344 h 398614"/>
              <a:gd name="connsiteX7" fmla="*/ 126962 w 351889"/>
              <a:gd name="connsiteY7" fmla="*/ 195117 h 398614"/>
              <a:gd name="connsiteX8" fmla="*/ 101669 w 351889"/>
              <a:gd name="connsiteY8" fmla="*/ 198731 h 398614"/>
              <a:gd name="connsiteX9" fmla="*/ 6820 w 351889"/>
              <a:gd name="connsiteY9" fmla="*/ 177051 h 398614"/>
              <a:gd name="connsiteX10" fmla="*/ 56503 w 351889"/>
              <a:gd name="connsiteY10" fmla="*/ 71362 h 398614"/>
              <a:gd name="connsiteX11" fmla="*/ 70053 w 351889"/>
              <a:gd name="connsiteY11" fmla="*/ 61426 h 398614"/>
              <a:gd name="connsiteX12" fmla="*/ 228134 w 351889"/>
              <a:gd name="connsiteY12" fmla="*/ 0 h 398614"/>
              <a:gd name="connsiteX13" fmla="*/ 351889 w 351889"/>
              <a:gd name="connsiteY13" fmla="*/ 151758 h 39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1889" h="398614">
                <a:moveTo>
                  <a:pt x="351889" y="151758"/>
                </a:moveTo>
                <a:cubicBezTo>
                  <a:pt x="304013" y="177051"/>
                  <a:pt x="281430" y="196924"/>
                  <a:pt x="269687" y="221314"/>
                </a:cubicBezTo>
                <a:cubicBezTo>
                  <a:pt x="257944" y="247510"/>
                  <a:pt x="262460" y="275513"/>
                  <a:pt x="267880" y="314356"/>
                </a:cubicBezTo>
                <a:cubicBezTo>
                  <a:pt x="271494" y="336939"/>
                  <a:pt x="244394" y="379395"/>
                  <a:pt x="208261" y="394752"/>
                </a:cubicBezTo>
                <a:cubicBezTo>
                  <a:pt x="194711" y="400171"/>
                  <a:pt x="185678" y="400171"/>
                  <a:pt x="180258" y="392945"/>
                </a:cubicBezTo>
                <a:cubicBezTo>
                  <a:pt x="169418" y="379395"/>
                  <a:pt x="170322" y="337842"/>
                  <a:pt x="170322" y="304419"/>
                </a:cubicBezTo>
                <a:cubicBezTo>
                  <a:pt x="170322" y="258350"/>
                  <a:pt x="171225" y="218604"/>
                  <a:pt x="152255" y="202344"/>
                </a:cubicBezTo>
                <a:cubicBezTo>
                  <a:pt x="145028" y="196021"/>
                  <a:pt x="136899" y="193310"/>
                  <a:pt x="126962" y="195117"/>
                </a:cubicBezTo>
                <a:cubicBezTo>
                  <a:pt x="118832" y="196021"/>
                  <a:pt x="109799" y="197827"/>
                  <a:pt x="101669" y="198731"/>
                </a:cubicBezTo>
                <a:cubicBezTo>
                  <a:pt x="52890" y="206860"/>
                  <a:pt x="22177" y="209571"/>
                  <a:pt x="6820" y="177051"/>
                </a:cubicBezTo>
                <a:cubicBezTo>
                  <a:pt x="-18473" y="124658"/>
                  <a:pt x="33017" y="85816"/>
                  <a:pt x="56503" y="71362"/>
                </a:cubicBezTo>
                <a:cubicBezTo>
                  <a:pt x="61020" y="68652"/>
                  <a:pt x="65536" y="65039"/>
                  <a:pt x="70053" y="61426"/>
                </a:cubicBezTo>
                <a:cubicBezTo>
                  <a:pt x="126962" y="54199"/>
                  <a:pt x="180258" y="30713"/>
                  <a:pt x="228134" y="0"/>
                </a:cubicBezTo>
                <a:cubicBezTo>
                  <a:pt x="286850" y="33423"/>
                  <a:pt x="331113" y="87622"/>
                  <a:pt x="351889" y="151758"/>
                </a:cubicBezTo>
                <a:close/>
              </a:path>
            </a:pathLst>
          </a:custGeom>
          <a:solidFill>
            <a:srgbClr val="60BA47"/>
          </a:solidFill>
          <a:ln w="9028" cap="flat">
            <a:noFill/>
            <a:prstDash val="solid"/>
            <a:miter/>
          </a:ln>
        </p:spPr>
        <p:txBody>
          <a:bodyPr rtlCol="0" anchor="ctr"/>
          <a:lstStyle/>
          <a:p>
            <a:endParaRPr lang="en-US"/>
          </a:p>
        </p:txBody>
      </p:sp>
      <p:sp>
        <p:nvSpPr>
          <p:cNvPr id="6" name="Freeform 209">
            <a:extLst>
              <a:ext uri="{FF2B5EF4-FFF2-40B4-BE49-F238E27FC236}">
                <a16:creationId xmlns:a16="http://schemas.microsoft.com/office/drawing/2014/main" id="{A73E1DD1-1A86-3492-B59C-BC828653EC09}"/>
              </a:ext>
            </a:extLst>
          </p:cNvPr>
          <p:cNvSpPr/>
          <p:nvPr/>
        </p:nvSpPr>
        <p:spPr>
          <a:xfrm>
            <a:off x="10887146" y="351328"/>
            <a:ext cx="901130" cy="901727"/>
          </a:xfrm>
          <a:custGeom>
            <a:avLst/>
            <a:gdLst>
              <a:gd name="connsiteX0" fmla="*/ 887581 w 901130"/>
              <a:gd name="connsiteY0" fmla="*/ 104998 h 901727"/>
              <a:gd name="connsiteX1" fmla="*/ 855965 w 901130"/>
              <a:gd name="connsiteY1" fmla="*/ 33635 h 901727"/>
              <a:gd name="connsiteX2" fmla="*/ 841512 w 901130"/>
              <a:gd name="connsiteY2" fmla="*/ 27312 h 901727"/>
              <a:gd name="connsiteX3" fmla="*/ 768343 w 901130"/>
              <a:gd name="connsiteY3" fmla="*/ 54412 h 901727"/>
              <a:gd name="connsiteX4" fmla="*/ 663558 w 901130"/>
              <a:gd name="connsiteY4" fmla="*/ 154681 h 901727"/>
              <a:gd name="connsiteX5" fmla="*/ 657234 w 901130"/>
              <a:gd name="connsiteY5" fmla="*/ 272112 h 901727"/>
              <a:gd name="connsiteX6" fmla="*/ 586775 w 901130"/>
              <a:gd name="connsiteY6" fmla="*/ 210687 h 901727"/>
              <a:gd name="connsiteX7" fmla="*/ 525350 w 901130"/>
              <a:gd name="connsiteY7" fmla="*/ 116741 h 901727"/>
              <a:gd name="connsiteX8" fmla="*/ 504573 w 901130"/>
              <a:gd name="connsiteY8" fmla="*/ 133001 h 901727"/>
              <a:gd name="connsiteX9" fmla="*/ 553352 w 901130"/>
              <a:gd name="connsiteY9" fmla="*/ 204363 h 901727"/>
              <a:gd name="connsiteX10" fmla="*/ 433211 w 901130"/>
              <a:gd name="connsiteY10" fmla="*/ 180877 h 901727"/>
              <a:gd name="connsiteX11" fmla="*/ 319392 w 901130"/>
              <a:gd name="connsiteY11" fmla="*/ 25505 h 901727"/>
              <a:gd name="connsiteX12" fmla="*/ 352815 w 901130"/>
              <a:gd name="connsiteY12" fmla="*/ 29119 h 901727"/>
              <a:gd name="connsiteX13" fmla="*/ 455794 w 901130"/>
              <a:gd name="connsiteY13" fmla="*/ 82415 h 901727"/>
              <a:gd name="connsiteX14" fmla="*/ 472957 w 901130"/>
              <a:gd name="connsiteY14" fmla="*/ 62542 h 901727"/>
              <a:gd name="connsiteX15" fmla="*/ 358235 w 901130"/>
              <a:gd name="connsiteY15" fmla="*/ 3826 h 901727"/>
              <a:gd name="connsiteX16" fmla="*/ 154084 w 901130"/>
              <a:gd name="connsiteY16" fmla="*/ 48992 h 901727"/>
              <a:gd name="connsiteX17" fmla="*/ 61945 w 901130"/>
              <a:gd name="connsiteY17" fmla="*/ 114934 h 901727"/>
              <a:gd name="connsiteX18" fmla="*/ 60139 w 901130"/>
              <a:gd name="connsiteY18" fmla="*/ 133001 h 901727"/>
              <a:gd name="connsiteX19" fmla="*/ 119758 w 901130"/>
              <a:gd name="connsiteY19" fmla="*/ 226043 h 901727"/>
              <a:gd name="connsiteX20" fmla="*/ 182087 w 901130"/>
              <a:gd name="connsiteY20" fmla="*/ 290179 h 901727"/>
              <a:gd name="connsiteX21" fmla="*/ 164021 w 901130"/>
              <a:gd name="connsiteY21" fmla="*/ 306438 h 901727"/>
              <a:gd name="connsiteX22" fmla="*/ 93562 w 901130"/>
              <a:gd name="connsiteY22" fmla="*/ 411224 h 901727"/>
              <a:gd name="connsiteX23" fmla="*/ 71882 w 901130"/>
              <a:gd name="connsiteY23" fmla="*/ 521429 h 901727"/>
              <a:gd name="connsiteX24" fmla="*/ 124275 w 901130"/>
              <a:gd name="connsiteY24" fmla="*/ 695770 h 901727"/>
              <a:gd name="connsiteX25" fmla="*/ 262483 w 901130"/>
              <a:gd name="connsiteY25" fmla="*/ 807782 h 901727"/>
              <a:gd name="connsiteX26" fmla="*/ 272419 w 901130"/>
              <a:gd name="connsiteY26" fmla="*/ 783392 h 901727"/>
              <a:gd name="connsiteX27" fmla="*/ 215510 w 901130"/>
              <a:gd name="connsiteY27" fmla="*/ 751776 h 901727"/>
              <a:gd name="connsiteX28" fmla="*/ 192927 w 901130"/>
              <a:gd name="connsiteY28" fmla="*/ 647894 h 901727"/>
              <a:gd name="connsiteX29" fmla="*/ 208284 w 901130"/>
              <a:gd name="connsiteY29" fmla="*/ 600921 h 901727"/>
              <a:gd name="connsiteX30" fmla="*/ 227253 w 901130"/>
              <a:gd name="connsiteY30" fmla="*/ 553949 h 901727"/>
              <a:gd name="connsiteX31" fmla="*/ 214607 w 901130"/>
              <a:gd name="connsiteY31" fmla="*/ 514202 h 901727"/>
              <a:gd name="connsiteX32" fmla="*/ 182990 w 901130"/>
              <a:gd name="connsiteY32" fmla="*/ 500653 h 901727"/>
              <a:gd name="connsiteX33" fmla="*/ 165827 w 901130"/>
              <a:gd name="connsiteY33" fmla="*/ 494329 h 901727"/>
              <a:gd name="connsiteX34" fmla="*/ 143244 w 901130"/>
              <a:gd name="connsiteY34" fmla="*/ 458196 h 901727"/>
              <a:gd name="connsiteX35" fmla="*/ 118855 w 901130"/>
              <a:gd name="connsiteY35" fmla="*/ 418451 h 901727"/>
              <a:gd name="connsiteX36" fmla="*/ 201960 w 901130"/>
              <a:gd name="connsiteY36" fmla="*/ 308245 h 901727"/>
              <a:gd name="connsiteX37" fmla="*/ 313069 w 901130"/>
              <a:gd name="connsiteY37" fmla="*/ 349798 h 901727"/>
              <a:gd name="connsiteX38" fmla="*/ 273323 w 901130"/>
              <a:gd name="connsiteY38" fmla="*/ 476263 h 901727"/>
              <a:gd name="connsiteX39" fmla="*/ 396174 w 901130"/>
              <a:gd name="connsiteY39" fmla="*/ 512396 h 901727"/>
              <a:gd name="connsiteX40" fmla="*/ 420564 w 901130"/>
              <a:gd name="connsiteY40" fmla="*/ 508783 h 901727"/>
              <a:gd name="connsiteX41" fmla="*/ 425081 w 901130"/>
              <a:gd name="connsiteY41" fmla="*/ 509686 h 901727"/>
              <a:gd name="connsiteX42" fmla="*/ 435017 w 901130"/>
              <a:gd name="connsiteY42" fmla="*/ 591888 h 901727"/>
              <a:gd name="connsiteX43" fmla="*/ 450374 w 901130"/>
              <a:gd name="connsiteY43" fmla="*/ 696673 h 901727"/>
              <a:gd name="connsiteX44" fmla="*/ 483797 w 901130"/>
              <a:gd name="connsiteY44" fmla="*/ 712933 h 901727"/>
              <a:gd name="connsiteX45" fmla="*/ 509993 w 901130"/>
              <a:gd name="connsiteY45" fmla="*/ 706610 h 901727"/>
              <a:gd name="connsiteX46" fmla="*/ 584968 w 901130"/>
              <a:gd name="connsiteY46" fmla="*/ 597308 h 901727"/>
              <a:gd name="connsiteX47" fmla="*/ 584065 w 901130"/>
              <a:gd name="connsiteY47" fmla="*/ 519622 h 901727"/>
              <a:gd name="connsiteX48" fmla="*/ 649104 w 901130"/>
              <a:gd name="connsiteY48" fmla="*/ 465423 h 901727"/>
              <a:gd name="connsiteX49" fmla="*/ 655428 w 901130"/>
              <a:gd name="connsiteY49" fmla="*/ 528655 h 901727"/>
              <a:gd name="connsiteX50" fmla="*/ 571419 w 901130"/>
              <a:gd name="connsiteY50" fmla="*/ 724676 h 901727"/>
              <a:gd name="connsiteX51" fmla="*/ 345588 w 901130"/>
              <a:gd name="connsiteY51" fmla="*/ 802362 h 901727"/>
              <a:gd name="connsiteX52" fmla="*/ 342878 w 901130"/>
              <a:gd name="connsiteY52" fmla="*/ 828558 h 901727"/>
              <a:gd name="connsiteX53" fmla="*/ 589485 w 901130"/>
              <a:gd name="connsiteY53" fmla="*/ 743646 h 901727"/>
              <a:gd name="connsiteX54" fmla="*/ 681624 w 901130"/>
              <a:gd name="connsiteY54" fmla="*/ 528655 h 901727"/>
              <a:gd name="connsiteX55" fmla="*/ 543416 w 901130"/>
              <a:gd name="connsiteY55" fmla="*/ 269402 h 901727"/>
              <a:gd name="connsiteX56" fmla="*/ 581355 w 901130"/>
              <a:gd name="connsiteY56" fmla="*/ 239592 h 901727"/>
              <a:gd name="connsiteX57" fmla="*/ 661751 w 901130"/>
              <a:gd name="connsiteY57" fmla="*/ 320891 h 901727"/>
              <a:gd name="connsiteX58" fmla="*/ 722273 w 901130"/>
              <a:gd name="connsiteY58" fmla="*/ 581951 h 901727"/>
              <a:gd name="connsiteX59" fmla="*/ 319392 w 901130"/>
              <a:gd name="connsiteY59" fmla="*/ 870111 h 901727"/>
              <a:gd name="connsiteX60" fmla="*/ 91755 w 901130"/>
              <a:gd name="connsiteY60" fmla="*/ 728290 h 901727"/>
              <a:gd name="connsiteX61" fmla="*/ 31233 w 901130"/>
              <a:gd name="connsiteY61" fmla="*/ 467230 h 901727"/>
              <a:gd name="connsiteX62" fmla="*/ 5036 w 901130"/>
              <a:gd name="connsiteY62" fmla="*/ 462713 h 901727"/>
              <a:gd name="connsiteX63" fmla="*/ 70075 w 901130"/>
              <a:gd name="connsiteY63" fmla="*/ 743646 h 901727"/>
              <a:gd name="connsiteX64" fmla="*/ 314875 w 901130"/>
              <a:gd name="connsiteY64" fmla="*/ 896307 h 901727"/>
              <a:gd name="connsiteX65" fmla="*/ 377205 w 901130"/>
              <a:gd name="connsiteY65" fmla="*/ 901728 h 901727"/>
              <a:gd name="connsiteX66" fmla="*/ 595808 w 901130"/>
              <a:gd name="connsiteY66" fmla="*/ 831268 h 901727"/>
              <a:gd name="connsiteX67" fmla="*/ 748470 w 901130"/>
              <a:gd name="connsiteY67" fmla="*/ 586468 h 901727"/>
              <a:gd name="connsiteX68" fmla="*/ 722273 w 901130"/>
              <a:gd name="connsiteY68" fmla="*/ 375091 h 901727"/>
              <a:gd name="connsiteX69" fmla="*/ 782796 w 901130"/>
              <a:gd name="connsiteY69" fmla="*/ 350701 h 901727"/>
              <a:gd name="connsiteX70" fmla="*/ 887581 w 901130"/>
              <a:gd name="connsiteY70" fmla="*/ 250432 h 901727"/>
              <a:gd name="connsiteX71" fmla="*/ 887581 w 901130"/>
              <a:gd name="connsiteY71" fmla="*/ 104998 h 901727"/>
              <a:gd name="connsiteX72" fmla="*/ 121565 w 901130"/>
              <a:gd name="connsiteY72" fmla="*/ 467230 h 901727"/>
              <a:gd name="connsiteX73" fmla="*/ 150471 w 901130"/>
              <a:gd name="connsiteY73" fmla="*/ 511493 h 901727"/>
              <a:gd name="connsiteX74" fmla="*/ 176667 w 901130"/>
              <a:gd name="connsiteY74" fmla="*/ 523236 h 901727"/>
              <a:gd name="connsiteX75" fmla="*/ 202864 w 901130"/>
              <a:gd name="connsiteY75" fmla="*/ 544916 h 901727"/>
              <a:gd name="connsiteX76" fmla="*/ 185701 w 901130"/>
              <a:gd name="connsiteY76" fmla="*/ 586468 h 901727"/>
              <a:gd name="connsiteX77" fmla="*/ 171247 w 901130"/>
              <a:gd name="connsiteY77" fmla="*/ 659637 h 901727"/>
              <a:gd name="connsiteX78" fmla="*/ 191121 w 901130"/>
              <a:gd name="connsiteY78" fmla="*/ 730096 h 901727"/>
              <a:gd name="connsiteX79" fmla="*/ 109822 w 901130"/>
              <a:gd name="connsiteY79" fmla="*/ 445550 h 901727"/>
              <a:gd name="connsiteX80" fmla="*/ 121565 w 901130"/>
              <a:gd name="connsiteY80" fmla="*/ 467230 h 901727"/>
              <a:gd name="connsiteX81" fmla="*/ 760213 w 901130"/>
              <a:gd name="connsiteY81" fmla="*/ 207976 h 901727"/>
              <a:gd name="connsiteX82" fmla="*/ 722273 w 901130"/>
              <a:gd name="connsiteY82" fmla="*/ 116741 h 901727"/>
              <a:gd name="connsiteX83" fmla="*/ 780086 w 901130"/>
              <a:gd name="connsiteY83" fmla="*/ 77898 h 901727"/>
              <a:gd name="connsiteX84" fmla="*/ 821639 w 901130"/>
              <a:gd name="connsiteY84" fmla="*/ 60735 h 901727"/>
              <a:gd name="connsiteX85" fmla="*/ 760213 w 901130"/>
              <a:gd name="connsiteY85" fmla="*/ 207976 h 901727"/>
              <a:gd name="connsiteX86" fmla="*/ 846932 w 901130"/>
              <a:gd name="connsiteY86" fmla="*/ 70671 h 901727"/>
              <a:gd name="connsiteX87" fmla="*/ 863192 w 901130"/>
              <a:gd name="connsiteY87" fmla="*/ 113127 h 901727"/>
              <a:gd name="connsiteX88" fmla="*/ 874935 w 901130"/>
              <a:gd name="connsiteY88" fmla="*/ 176360 h 901727"/>
              <a:gd name="connsiteX89" fmla="*/ 787313 w 901130"/>
              <a:gd name="connsiteY89" fmla="*/ 212493 h 901727"/>
              <a:gd name="connsiteX90" fmla="*/ 846932 w 901130"/>
              <a:gd name="connsiteY90" fmla="*/ 70671 h 901727"/>
              <a:gd name="connsiteX91" fmla="*/ 688850 w 901130"/>
              <a:gd name="connsiteY91" fmla="*/ 164617 h 901727"/>
              <a:gd name="connsiteX92" fmla="*/ 703304 w 901130"/>
              <a:gd name="connsiteY92" fmla="*/ 139324 h 901727"/>
              <a:gd name="connsiteX93" fmla="*/ 745760 w 901130"/>
              <a:gd name="connsiteY93" fmla="*/ 243206 h 901727"/>
              <a:gd name="connsiteX94" fmla="*/ 707820 w 901130"/>
              <a:gd name="connsiteY94" fmla="*/ 334441 h 901727"/>
              <a:gd name="connsiteX95" fmla="*/ 690657 w 901130"/>
              <a:gd name="connsiteY95" fmla="*/ 291082 h 901727"/>
              <a:gd name="connsiteX96" fmla="*/ 688850 w 901130"/>
              <a:gd name="connsiteY96" fmla="*/ 164617 h 901727"/>
              <a:gd name="connsiteX97" fmla="*/ 772860 w 901130"/>
              <a:gd name="connsiteY97" fmla="*/ 325408 h 901727"/>
              <a:gd name="connsiteX98" fmla="*/ 732210 w 901130"/>
              <a:gd name="connsiteY98" fmla="*/ 342571 h 901727"/>
              <a:gd name="connsiteX99" fmla="*/ 771956 w 901130"/>
              <a:gd name="connsiteY99" fmla="*/ 247723 h 901727"/>
              <a:gd name="connsiteX100" fmla="*/ 873128 w 901130"/>
              <a:gd name="connsiteY100" fmla="*/ 206170 h 901727"/>
              <a:gd name="connsiteX101" fmla="*/ 864095 w 901130"/>
              <a:gd name="connsiteY101" fmla="*/ 239592 h 901727"/>
              <a:gd name="connsiteX102" fmla="*/ 772860 w 901130"/>
              <a:gd name="connsiteY102" fmla="*/ 325408 h 901727"/>
              <a:gd name="connsiteX103" fmla="*/ 297712 w 901130"/>
              <a:gd name="connsiteY103" fmla="*/ 318182 h 901727"/>
              <a:gd name="connsiteX104" fmla="*/ 284163 w 901130"/>
              <a:gd name="connsiteY104" fmla="*/ 314569 h 901727"/>
              <a:gd name="connsiteX105" fmla="*/ 430501 w 901130"/>
              <a:gd name="connsiteY105" fmla="*/ 207073 h 901727"/>
              <a:gd name="connsiteX106" fmla="*/ 550642 w 901130"/>
              <a:gd name="connsiteY106" fmla="*/ 230559 h 901727"/>
              <a:gd name="connsiteX107" fmla="*/ 297712 w 901130"/>
              <a:gd name="connsiteY107" fmla="*/ 318182 h 901727"/>
              <a:gd name="connsiteX108" fmla="*/ 164021 w 901130"/>
              <a:gd name="connsiteY108" fmla="*/ 235979 h 901727"/>
              <a:gd name="connsiteX109" fmla="*/ 97175 w 901130"/>
              <a:gd name="connsiteY109" fmla="*/ 142937 h 901727"/>
              <a:gd name="connsiteX110" fmla="*/ 249836 w 901130"/>
              <a:gd name="connsiteY110" fmla="*/ 172747 h 901727"/>
              <a:gd name="connsiteX111" fmla="*/ 164021 w 901130"/>
              <a:gd name="connsiteY111" fmla="*/ 235979 h 901727"/>
              <a:gd name="connsiteX112" fmla="*/ 191121 w 901130"/>
              <a:gd name="connsiteY112" fmla="*/ 59832 h 901727"/>
              <a:gd name="connsiteX113" fmla="*/ 255256 w 901130"/>
              <a:gd name="connsiteY113" fmla="*/ 147454 h 901727"/>
              <a:gd name="connsiteX114" fmla="*/ 100788 w 901130"/>
              <a:gd name="connsiteY114" fmla="*/ 117644 h 901727"/>
              <a:gd name="connsiteX115" fmla="*/ 191121 w 901130"/>
              <a:gd name="connsiteY115" fmla="*/ 59832 h 901727"/>
              <a:gd name="connsiteX116" fmla="*/ 293196 w 901130"/>
              <a:gd name="connsiteY116" fmla="*/ 154681 h 901727"/>
              <a:gd name="connsiteX117" fmla="*/ 215510 w 901130"/>
              <a:gd name="connsiteY117" fmla="*/ 48992 h 901727"/>
              <a:gd name="connsiteX118" fmla="*/ 289583 w 901130"/>
              <a:gd name="connsiteY118" fmla="*/ 28216 h 901727"/>
              <a:gd name="connsiteX119" fmla="*/ 397078 w 901130"/>
              <a:gd name="connsiteY119" fmla="*/ 174554 h 901727"/>
              <a:gd name="connsiteX120" fmla="*/ 293196 w 901130"/>
              <a:gd name="connsiteY120" fmla="*/ 154681 h 901727"/>
              <a:gd name="connsiteX121" fmla="*/ 285066 w 901130"/>
              <a:gd name="connsiteY121" fmla="*/ 179973 h 901727"/>
              <a:gd name="connsiteX122" fmla="*/ 394368 w 901130"/>
              <a:gd name="connsiteY122" fmla="*/ 201653 h 901727"/>
              <a:gd name="connsiteX123" fmla="*/ 253450 w 901130"/>
              <a:gd name="connsiteY123" fmla="*/ 304632 h 901727"/>
              <a:gd name="connsiteX124" fmla="*/ 182087 w 901130"/>
              <a:gd name="connsiteY124" fmla="*/ 254949 h 901727"/>
              <a:gd name="connsiteX125" fmla="*/ 285066 w 901130"/>
              <a:gd name="connsiteY125" fmla="*/ 179973 h 901727"/>
              <a:gd name="connsiteX126" fmla="*/ 642781 w 901130"/>
              <a:gd name="connsiteY126" fmla="*/ 437420 h 901727"/>
              <a:gd name="connsiteX127" fmla="*/ 560579 w 901130"/>
              <a:gd name="connsiteY127" fmla="*/ 506976 h 901727"/>
              <a:gd name="connsiteX128" fmla="*/ 558772 w 901130"/>
              <a:gd name="connsiteY128" fmla="*/ 600018 h 901727"/>
              <a:gd name="connsiteX129" fmla="*/ 499153 w 901130"/>
              <a:gd name="connsiteY129" fmla="*/ 680414 h 901727"/>
              <a:gd name="connsiteX130" fmla="*/ 471150 w 901130"/>
              <a:gd name="connsiteY130" fmla="*/ 678607 h 901727"/>
              <a:gd name="connsiteX131" fmla="*/ 461214 w 901130"/>
              <a:gd name="connsiteY131" fmla="*/ 590082 h 901727"/>
              <a:gd name="connsiteX132" fmla="*/ 443147 w 901130"/>
              <a:gd name="connsiteY132" fmla="*/ 488006 h 901727"/>
              <a:gd name="connsiteX133" fmla="*/ 417854 w 901130"/>
              <a:gd name="connsiteY133" fmla="*/ 480779 h 901727"/>
              <a:gd name="connsiteX134" fmla="*/ 392561 w 901130"/>
              <a:gd name="connsiteY134" fmla="*/ 484393 h 901727"/>
              <a:gd name="connsiteX135" fmla="*/ 297712 w 901130"/>
              <a:gd name="connsiteY135" fmla="*/ 462713 h 901727"/>
              <a:gd name="connsiteX136" fmla="*/ 347395 w 901130"/>
              <a:gd name="connsiteY136" fmla="*/ 357024 h 901727"/>
              <a:gd name="connsiteX137" fmla="*/ 360945 w 901130"/>
              <a:gd name="connsiteY137" fmla="*/ 347088 h 901727"/>
              <a:gd name="connsiteX138" fmla="*/ 519026 w 901130"/>
              <a:gd name="connsiteY138" fmla="*/ 285662 h 901727"/>
              <a:gd name="connsiteX139" fmla="*/ 642781 w 901130"/>
              <a:gd name="connsiteY139" fmla="*/ 437420 h 90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901130" h="901727">
                <a:moveTo>
                  <a:pt x="887581" y="104998"/>
                </a:moveTo>
                <a:cubicBezTo>
                  <a:pt x="874935" y="64348"/>
                  <a:pt x="856868" y="34539"/>
                  <a:pt x="855965" y="33635"/>
                </a:cubicBezTo>
                <a:cubicBezTo>
                  <a:pt x="853255" y="29119"/>
                  <a:pt x="846932" y="26409"/>
                  <a:pt x="841512" y="27312"/>
                </a:cubicBezTo>
                <a:cubicBezTo>
                  <a:pt x="839705" y="27312"/>
                  <a:pt x="807186" y="35442"/>
                  <a:pt x="768343" y="54412"/>
                </a:cubicBezTo>
                <a:cubicBezTo>
                  <a:pt x="716853" y="80608"/>
                  <a:pt x="679817" y="114934"/>
                  <a:pt x="663558" y="154681"/>
                </a:cubicBezTo>
                <a:cubicBezTo>
                  <a:pt x="650008" y="187200"/>
                  <a:pt x="647298" y="227849"/>
                  <a:pt x="657234" y="272112"/>
                </a:cubicBezTo>
                <a:cubicBezTo>
                  <a:pt x="636458" y="248626"/>
                  <a:pt x="612972" y="227849"/>
                  <a:pt x="586775" y="210687"/>
                </a:cubicBezTo>
                <a:cubicBezTo>
                  <a:pt x="578645" y="195330"/>
                  <a:pt x="557869" y="156487"/>
                  <a:pt x="525350" y="116741"/>
                </a:cubicBezTo>
                <a:cubicBezTo>
                  <a:pt x="514510" y="103191"/>
                  <a:pt x="493733" y="120354"/>
                  <a:pt x="504573" y="133001"/>
                </a:cubicBezTo>
                <a:cubicBezTo>
                  <a:pt x="526253" y="160100"/>
                  <a:pt x="542513" y="186297"/>
                  <a:pt x="553352" y="204363"/>
                </a:cubicBezTo>
                <a:lnTo>
                  <a:pt x="433211" y="180877"/>
                </a:lnTo>
                <a:lnTo>
                  <a:pt x="319392" y="25505"/>
                </a:lnTo>
                <a:cubicBezTo>
                  <a:pt x="330232" y="25505"/>
                  <a:pt x="341975" y="26409"/>
                  <a:pt x="352815" y="29119"/>
                </a:cubicBezTo>
                <a:cubicBezTo>
                  <a:pt x="388045" y="36345"/>
                  <a:pt x="422371" y="53508"/>
                  <a:pt x="455794" y="82415"/>
                </a:cubicBezTo>
                <a:cubicBezTo>
                  <a:pt x="468440" y="93255"/>
                  <a:pt x="485603" y="73382"/>
                  <a:pt x="472957" y="62542"/>
                </a:cubicBezTo>
                <a:cubicBezTo>
                  <a:pt x="435920" y="30925"/>
                  <a:pt x="397078" y="11052"/>
                  <a:pt x="358235" y="3826"/>
                </a:cubicBezTo>
                <a:cubicBezTo>
                  <a:pt x="297712" y="-7917"/>
                  <a:pt x="227253" y="7439"/>
                  <a:pt x="154084" y="48992"/>
                </a:cubicBezTo>
                <a:cubicBezTo>
                  <a:pt x="99885" y="79705"/>
                  <a:pt x="63752" y="113127"/>
                  <a:pt x="61945" y="114934"/>
                </a:cubicBezTo>
                <a:cubicBezTo>
                  <a:pt x="57429" y="119451"/>
                  <a:pt x="56525" y="127581"/>
                  <a:pt x="60139" y="133001"/>
                </a:cubicBezTo>
                <a:cubicBezTo>
                  <a:pt x="65559" y="143841"/>
                  <a:pt x="85432" y="183587"/>
                  <a:pt x="119758" y="226043"/>
                </a:cubicBezTo>
                <a:cubicBezTo>
                  <a:pt x="139631" y="251336"/>
                  <a:pt x="160407" y="272112"/>
                  <a:pt x="182087" y="290179"/>
                </a:cubicBezTo>
                <a:cubicBezTo>
                  <a:pt x="175764" y="295598"/>
                  <a:pt x="170344" y="301019"/>
                  <a:pt x="164021" y="306438"/>
                </a:cubicBezTo>
                <a:cubicBezTo>
                  <a:pt x="133308" y="336248"/>
                  <a:pt x="109822" y="372381"/>
                  <a:pt x="93562" y="411224"/>
                </a:cubicBezTo>
                <a:cubicBezTo>
                  <a:pt x="80012" y="445550"/>
                  <a:pt x="72785" y="482586"/>
                  <a:pt x="71882" y="521429"/>
                </a:cubicBezTo>
                <a:cubicBezTo>
                  <a:pt x="70979" y="583758"/>
                  <a:pt x="89045" y="644281"/>
                  <a:pt x="124275" y="695770"/>
                </a:cubicBezTo>
                <a:cubicBezTo>
                  <a:pt x="158601" y="746356"/>
                  <a:pt x="206477" y="785199"/>
                  <a:pt x="262483" y="807782"/>
                </a:cubicBezTo>
                <a:cubicBezTo>
                  <a:pt x="277839" y="814105"/>
                  <a:pt x="287776" y="789715"/>
                  <a:pt x="272419" y="783392"/>
                </a:cubicBezTo>
                <a:cubicBezTo>
                  <a:pt x="251643" y="775263"/>
                  <a:pt x="232673" y="764423"/>
                  <a:pt x="215510" y="751776"/>
                </a:cubicBezTo>
                <a:cubicBezTo>
                  <a:pt x="217317" y="739130"/>
                  <a:pt x="222737" y="693964"/>
                  <a:pt x="192927" y="647894"/>
                </a:cubicBezTo>
                <a:cubicBezTo>
                  <a:pt x="188410" y="641570"/>
                  <a:pt x="201057" y="615374"/>
                  <a:pt x="208284" y="600921"/>
                </a:cubicBezTo>
                <a:cubicBezTo>
                  <a:pt x="216413" y="585565"/>
                  <a:pt x="223640" y="569305"/>
                  <a:pt x="227253" y="553949"/>
                </a:cubicBezTo>
                <a:cubicBezTo>
                  <a:pt x="230867" y="537689"/>
                  <a:pt x="226350" y="524139"/>
                  <a:pt x="214607" y="514202"/>
                </a:cubicBezTo>
                <a:cubicBezTo>
                  <a:pt x="205573" y="506976"/>
                  <a:pt x="193830" y="503362"/>
                  <a:pt x="182990" y="500653"/>
                </a:cubicBezTo>
                <a:cubicBezTo>
                  <a:pt x="175764" y="498846"/>
                  <a:pt x="168538" y="496136"/>
                  <a:pt x="165827" y="494329"/>
                </a:cubicBezTo>
                <a:cubicBezTo>
                  <a:pt x="160407" y="489813"/>
                  <a:pt x="150471" y="471746"/>
                  <a:pt x="143244" y="458196"/>
                </a:cubicBezTo>
                <a:cubicBezTo>
                  <a:pt x="135114" y="442840"/>
                  <a:pt x="126985" y="427484"/>
                  <a:pt x="118855" y="418451"/>
                </a:cubicBezTo>
                <a:cubicBezTo>
                  <a:pt x="136921" y="375994"/>
                  <a:pt x="165827" y="338055"/>
                  <a:pt x="201960" y="308245"/>
                </a:cubicBezTo>
                <a:cubicBezTo>
                  <a:pt x="235383" y="330828"/>
                  <a:pt x="273323" y="346185"/>
                  <a:pt x="313069" y="349798"/>
                </a:cubicBezTo>
                <a:cubicBezTo>
                  <a:pt x="266096" y="385931"/>
                  <a:pt x="251643" y="432000"/>
                  <a:pt x="273323" y="476263"/>
                </a:cubicBezTo>
                <a:cubicBezTo>
                  <a:pt x="298616" y="527752"/>
                  <a:pt x="350105" y="519622"/>
                  <a:pt x="396174" y="512396"/>
                </a:cubicBezTo>
                <a:cubicBezTo>
                  <a:pt x="404304" y="511493"/>
                  <a:pt x="412434" y="509686"/>
                  <a:pt x="420564" y="508783"/>
                </a:cubicBezTo>
                <a:cubicBezTo>
                  <a:pt x="423274" y="508783"/>
                  <a:pt x="424177" y="508783"/>
                  <a:pt x="425081" y="509686"/>
                </a:cubicBezTo>
                <a:cubicBezTo>
                  <a:pt x="435017" y="518719"/>
                  <a:pt x="435017" y="561175"/>
                  <a:pt x="435017" y="591888"/>
                </a:cubicBezTo>
                <a:cubicBezTo>
                  <a:pt x="435017" y="635248"/>
                  <a:pt x="434114" y="675897"/>
                  <a:pt x="450374" y="696673"/>
                </a:cubicBezTo>
                <a:cubicBezTo>
                  <a:pt x="458503" y="707513"/>
                  <a:pt x="470247" y="712933"/>
                  <a:pt x="483797" y="712933"/>
                </a:cubicBezTo>
                <a:cubicBezTo>
                  <a:pt x="491926" y="712933"/>
                  <a:pt x="500960" y="711126"/>
                  <a:pt x="509993" y="706610"/>
                </a:cubicBezTo>
                <a:cubicBezTo>
                  <a:pt x="549739" y="689447"/>
                  <a:pt x="591292" y="637958"/>
                  <a:pt x="584968" y="597308"/>
                </a:cubicBezTo>
                <a:cubicBezTo>
                  <a:pt x="579549" y="562078"/>
                  <a:pt x="575935" y="538592"/>
                  <a:pt x="584065" y="519622"/>
                </a:cubicBezTo>
                <a:cubicBezTo>
                  <a:pt x="592195" y="502459"/>
                  <a:pt x="611165" y="486200"/>
                  <a:pt x="649104" y="465423"/>
                </a:cubicBezTo>
                <a:cubicBezTo>
                  <a:pt x="653621" y="486200"/>
                  <a:pt x="656331" y="506976"/>
                  <a:pt x="655428" y="528655"/>
                </a:cubicBezTo>
                <a:cubicBezTo>
                  <a:pt x="654524" y="602728"/>
                  <a:pt x="624715" y="672284"/>
                  <a:pt x="571419" y="724676"/>
                </a:cubicBezTo>
                <a:cubicBezTo>
                  <a:pt x="511800" y="782489"/>
                  <a:pt x="428694" y="811395"/>
                  <a:pt x="345588" y="802362"/>
                </a:cubicBezTo>
                <a:cubicBezTo>
                  <a:pt x="328425" y="800555"/>
                  <a:pt x="325715" y="826751"/>
                  <a:pt x="342878" y="828558"/>
                </a:cubicBezTo>
                <a:cubicBezTo>
                  <a:pt x="433211" y="838495"/>
                  <a:pt x="524446" y="806879"/>
                  <a:pt x="589485" y="743646"/>
                </a:cubicBezTo>
                <a:cubicBezTo>
                  <a:pt x="647298" y="686737"/>
                  <a:pt x="680721" y="610858"/>
                  <a:pt x="681624" y="528655"/>
                </a:cubicBezTo>
                <a:cubicBezTo>
                  <a:pt x="682527" y="420257"/>
                  <a:pt x="627425" y="324505"/>
                  <a:pt x="543416" y="269402"/>
                </a:cubicBezTo>
                <a:cubicBezTo>
                  <a:pt x="560579" y="256756"/>
                  <a:pt x="574129" y="245916"/>
                  <a:pt x="581355" y="239592"/>
                </a:cubicBezTo>
                <a:cubicBezTo>
                  <a:pt x="612068" y="261272"/>
                  <a:pt x="639168" y="289275"/>
                  <a:pt x="661751" y="320891"/>
                </a:cubicBezTo>
                <a:cubicBezTo>
                  <a:pt x="715950" y="396771"/>
                  <a:pt x="737630" y="489813"/>
                  <a:pt x="722273" y="581951"/>
                </a:cubicBezTo>
                <a:cubicBezTo>
                  <a:pt x="690657" y="772552"/>
                  <a:pt x="509993" y="901728"/>
                  <a:pt x="319392" y="870111"/>
                </a:cubicBezTo>
                <a:cubicBezTo>
                  <a:pt x="227253" y="854755"/>
                  <a:pt x="145954" y="804168"/>
                  <a:pt x="91755" y="728290"/>
                </a:cubicBezTo>
                <a:cubicBezTo>
                  <a:pt x="37556" y="652410"/>
                  <a:pt x="15876" y="559368"/>
                  <a:pt x="31233" y="467230"/>
                </a:cubicBezTo>
                <a:cubicBezTo>
                  <a:pt x="33942" y="450970"/>
                  <a:pt x="7746" y="446453"/>
                  <a:pt x="5036" y="462713"/>
                </a:cubicBezTo>
                <a:cubicBezTo>
                  <a:pt x="-11224" y="562078"/>
                  <a:pt x="12263" y="661444"/>
                  <a:pt x="70075" y="743646"/>
                </a:cubicBezTo>
                <a:cubicBezTo>
                  <a:pt x="128791" y="825848"/>
                  <a:pt x="215510" y="879144"/>
                  <a:pt x="314875" y="896307"/>
                </a:cubicBezTo>
                <a:cubicBezTo>
                  <a:pt x="335652" y="899921"/>
                  <a:pt x="356428" y="901728"/>
                  <a:pt x="377205" y="901728"/>
                </a:cubicBezTo>
                <a:cubicBezTo>
                  <a:pt x="454890" y="901728"/>
                  <a:pt x="530769" y="877338"/>
                  <a:pt x="595808" y="831268"/>
                </a:cubicBezTo>
                <a:cubicBezTo>
                  <a:pt x="678011" y="772552"/>
                  <a:pt x="731307" y="685833"/>
                  <a:pt x="748470" y="586468"/>
                </a:cubicBezTo>
                <a:cubicBezTo>
                  <a:pt x="760213" y="513299"/>
                  <a:pt x="751180" y="441034"/>
                  <a:pt x="722273" y="375091"/>
                </a:cubicBezTo>
                <a:cubicBezTo>
                  <a:pt x="735823" y="371478"/>
                  <a:pt x="758406" y="363348"/>
                  <a:pt x="782796" y="350701"/>
                </a:cubicBezTo>
                <a:cubicBezTo>
                  <a:pt x="834285" y="324505"/>
                  <a:pt x="871322" y="290179"/>
                  <a:pt x="887581" y="250432"/>
                </a:cubicBezTo>
                <a:cubicBezTo>
                  <a:pt x="905648" y="209783"/>
                  <a:pt x="905648" y="160100"/>
                  <a:pt x="887581" y="104998"/>
                </a:cubicBezTo>
                <a:close/>
                <a:moveTo>
                  <a:pt x="121565" y="467230"/>
                </a:moveTo>
                <a:cubicBezTo>
                  <a:pt x="131501" y="486200"/>
                  <a:pt x="140534" y="503362"/>
                  <a:pt x="150471" y="511493"/>
                </a:cubicBezTo>
                <a:cubicBezTo>
                  <a:pt x="157698" y="516912"/>
                  <a:pt x="166731" y="520526"/>
                  <a:pt x="176667" y="523236"/>
                </a:cubicBezTo>
                <a:cubicBezTo>
                  <a:pt x="202864" y="531366"/>
                  <a:pt x="205573" y="534979"/>
                  <a:pt x="202864" y="544916"/>
                </a:cubicBezTo>
                <a:cubicBezTo>
                  <a:pt x="200154" y="557562"/>
                  <a:pt x="192927" y="572015"/>
                  <a:pt x="185701" y="586468"/>
                </a:cubicBezTo>
                <a:cubicBezTo>
                  <a:pt x="172151" y="614471"/>
                  <a:pt x="159504" y="640667"/>
                  <a:pt x="171247" y="659637"/>
                </a:cubicBezTo>
                <a:cubicBezTo>
                  <a:pt x="188410" y="686737"/>
                  <a:pt x="191121" y="712933"/>
                  <a:pt x="191121" y="730096"/>
                </a:cubicBezTo>
                <a:cubicBezTo>
                  <a:pt x="112531" y="659637"/>
                  <a:pt x="80915" y="547625"/>
                  <a:pt x="109822" y="445550"/>
                </a:cubicBezTo>
                <a:cubicBezTo>
                  <a:pt x="114338" y="452777"/>
                  <a:pt x="117951" y="460906"/>
                  <a:pt x="121565" y="467230"/>
                </a:cubicBezTo>
                <a:close/>
                <a:moveTo>
                  <a:pt x="760213" y="207976"/>
                </a:moveTo>
                <a:lnTo>
                  <a:pt x="722273" y="116741"/>
                </a:lnTo>
                <a:cubicBezTo>
                  <a:pt x="740340" y="99578"/>
                  <a:pt x="762020" y="86931"/>
                  <a:pt x="780086" y="77898"/>
                </a:cubicBezTo>
                <a:cubicBezTo>
                  <a:pt x="795443" y="69768"/>
                  <a:pt x="809896" y="64348"/>
                  <a:pt x="821639" y="60735"/>
                </a:cubicBezTo>
                <a:lnTo>
                  <a:pt x="760213" y="207976"/>
                </a:lnTo>
                <a:close/>
                <a:moveTo>
                  <a:pt x="846932" y="70671"/>
                </a:moveTo>
                <a:cubicBezTo>
                  <a:pt x="852352" y="81511"/>
                  <a:pt x="858675" y="96868"/>
                  <a:pt x="863192" y="113127"/>
                </a:cubicBezTo>
                <a:cubicBezTo>
                  <a:pt x="868612" y="131194"/>
                  <a:pt x="874031" y="153777"/>
                  <a:pt x="874935" y="176360"/>
                </a:cubicBezTo>
                <a:lnTo>
                  <a:pt x="787313" y="212493"/>
                </a:lnTo>
                <a:lnTo>
                  <a:pt x="846932" y="70671"/>
                </a:lnTo>
                <a:close/>
                <a:moveTo>
                  <a:pt x="688850" y="164617"/>
                </a:moveTo>
                <a:cubicBezTo>
                  <a:pt x="692464" y="155584"/>
                  <a:pt x="697884" y="146550"/>
                  <a:pt x="703304" y="139324"/>
                </a:cubicBezTo>
                <a:lnTo>
                  <a:pt x="745760" y="243206"/>
                </a:lnTo>
                <a:lnTo>
                  <a:pt x="707820" y="334441"/>
                </a:lnTo>
                <a:cubicBezTo>
                  <a:pt x="702400" y="322698"/>
                  <a:pt x="696077" y="308245"/>
                  <a:pt x="690657" y="291082"/>
                </a:cubicBezTo>
                <a:cubicBezTo>
                  <a:pt x="679817" y="256756"/>
                  <a:pt x="670784" y="207073"/>
                  <a:pt x="688850" y="164617"/>
                </a:cubicBezTo>
                <a:close/>
                <a:moveTo>
                  <a:pt x="772860" y="325408"/>
                </a:moveTo>
                <a:cubicBezTo>
                  <a:pt x="758406" y="332635"/>
                  <a:pt x="743953" y="338055"/>
                  <a:pt x="732210" y="342571"/>
                </a:cubicBezTo>
                <a:lnTo>
                  <a:pt x="771956" y="247723"/>
                </a:lnTo>
                <a:lnTo>
                  <a:pt x="873128" y="206170"/>
                </a:lnTo>
                <a:cubicBezTo>
                  <a:pt x="871322" y="217913"/>
                  <a:pt x="868612" y="228753"/>
                  <a:pt x="864095" y="239592"/>
                </a:cubicBezTo>
                <a:cubicBezTo>
                  <a:pt x="846932" y="282049"/>
                  <a:pt x="805379" y="310052"/>
                  <a:pt x="772860" y="325408"/>
                </a:cubicBezTo>
                <a:close/>
                <a:moveTo>
                  <a:pt x="297712" y="318182"/>
                </a:moveTo>
                <a:cubicBezTo>
                  <a:pt x="293196" y="317278"/>
                  <a:pt x="288679" y="316375"/>
                  <a:pt x="284163" y="314569"/>
                </a:cubicBezTo>
                <a:lnTo>
                  <a:pt x="430501" y="207073"/>
                </a:lnTo>
                <a:lnTo>
                  <a:pt x="550642" y="230559"/>
                </a:lnTo>
                <a:cubicBezTo>
                  <a:pt x="506380" y="265789"/>
                  <a:pt x="399788" y="338055"/>
                  <a:pt x="297712" y="318182"/>
                </a:cubicBezTo>
                <a:close/>
                <a:moveTo>
                  <a:pt x="164021" y="235979"/>
                </a:moveTo>
                <a:cubicBezTo>
                  <a:pt x="132405" y="202556"/>
                  <a:pt x="109822" y="166424"/>
                  <a:pt x="97175" y="142937"/>
                </a:cubicBezTo>
                <a:lnTo>
                  <a:pt x="249836" y="172747"/>
                </a:lnTo>
                <a:lnTo>
                  <a:pt x="164021" y="235979"/>
                </a:lnTo>
                <a:close/>
                <a:moveTo>
                  <a:pt x="191121" y="59832"/>
                </a:moveTo>
                <a:lnTo>
                  <a:pt x="255256" y="147454"/>
                </a:lnTo>
                <a:lnTo>
                  <a:pt x="100788" y="117644"/>
                </a:lnTo>
                <a:cubicBezTo>
                  <a:pt x="120661" y="101384"/>
                  <a:pt x="152278" y="78801"/>
                  <a:pt x="191121" y="59832"/>
                </a:cubicBezTo>
                <a:close/>
                <a:moveTo>
                  <a:pt x="293196" y="154681"/>
                </a:moveTo>
                <a:lnTo>
                  <a:pt x="215510" y="48992"/>
                </a:lnTo>
                <a:cubicBezTo>
                  <a:pt x="238996" y="39055"/>
                  <a:pt x="263386" y="31829"/>
                  <a:pt x="289583" y="28216"/>
                </a:cubicBezTo>
                <a:lnTo>
                  <a:pt x="397078" y="174554"/>
                </a:lnTo>
                <a:lnTo>
                  <a:pt x="293196" y="154681"/>
                </a:lnTo>
                <a:close/>
                <a:moveTo>
                  <a:pt x="285066" y="179973"/>
                </a:moveTo>
                <a:lnTo>
                  <a:pt x="394368" y="201653"/>
                </a:lnTo>
                <a:lnTo>
                  <a:pt x="253450" y="304632"/>
                </a:lnTo>
                <a:cubicBezTo>
                  <a:pt x="227253" y="291986"/>
                  <a:pt x="202864" y="274822"/>
                  <a:pt x="182087" y="254949"/>
                </a:cubicBezTo>
                <a:lnTo>
                  <a:pt x="285066" y="179973"/>
                </a:lnTo>
                <a:close/>
                <a:moveTo>
                  <a:pt x="642781" y="437420"/>
                </a:moveTo>
                <a:cubicBezTo>
                  <a:pt x="594905" y="462713"/>
                  <a:pt x="572322" y="482586"/>
                  <a:pt x="560579" y="506976"/>
                </a:cubicBezTo>
                <a:cubicBezTo>
                  <a:pt x="548836" y="533172"/>
                  <a:pt x="553352" y="561175"/>
                  <a:pt x="558772" y="600018"/>
                </a:cubicBezTo>
                <a:cubicBezTo>
                  <a:pt x="562385" y="622601"/>
                  <a:pt x="535286" y="665057"/>
                  <a:pt x="499153" y="680414"/>
                </a:cubicBezTo>
                <a:cubicBezTo>
                  <a:pt x="485603" y="685833"/>
                  <a:pt x="476570" y="685833"/>
                  <a:pt x="471150" y="678607"/>
                </a:cubicBezTo>
                <a:cubicBezTo>
                  <a:pt x="460310" y="665057"/>
                  <a:pt x="461214" y="623504"/>
                  <a:pt x="461214" y="590082"/>
                </a:cubicBezTo>
                <a:cubicBezTo>
                  <a:pt x="461214" y="544012"/>
                  <a:pt x="462117" y="504266"/>
                  <a:pt x="443147" y="488006"/>
                </a:cubicBezTo>
                <a:cubicBezTo>
                  <a:pt x="435920" y="481683"/>
                  <a:pt x="427791" y="478973"/>
                  <a:pt x="417854" y="480779"/>
                </a:cubicBezTo>
                <a:cubicBezTo>
                  <a:pt x="409724" y="481683"/>
                  <a:pt x="400691" y="483489"/>
                  <a:pt x="392561" y="484393"/>
                </a:cubicBezTo>
                <a:cubicBezTo>
                  <a:pt x="343782" y="492522"/>
                  <a:pt x="313069" y="495233"/>
                  <a:pt x="297712" y="462713"/>
                </a:cubicBezTo>
                <a:cubicBezTo>
                  <a:pt x="272419" y="410320"/>
                  <a:pt x="323909" y="371478"/>
                  <a:pt x="347395" y="357024"/>
                </a:cubicBezTo>
                <a:cubicBezTo>
                  <a:pt x="351912" y="354314"/>
                  <a:pt x="356428" y="350701"/>
                  <a:pt x="360945" y="347088"/>
                </a:cubicBezTo>
                <a:cubicBezTo>
                  <a:pt x="417854" y="339861"/>
                  <a:pt x="471150" y="316375"/>
                  <a:pt x="519026" y="285662"/>
                </a:cubicBezTo>
                <a:cubicBezTo>
                  <a:pt x="577742" y="319085"/>
                  <a:pt x="622005" y="373284"/>
                  <a:pt x="642781" y="437420"/>
                </a:cubicBezTo>
                <a:close/>
              </a:path>
            </a:pathLst>
          </a:custGeom>
          <a:solidFill>
            <a:srgbClr val="0F486D"/>
          </a:solidFill>
          <a:ln w="9028" cap="flat">
            <a:noFill/>
            <a:prstDash val="solid"/>
            <a:miter/>
          </a:ln>
        </p:spPr>
        <p:txBody>
          <a:bodyPr rtlCol="0" anchor="ctr"/>
          <a:lstStyle/>
          <a:p>
            <a:endParaRPr lang="en-US"/>
          </a:p>
        </p:txBody>
      </p:sp>
    </p:spTree>
    <p:extLst>
      <p:ext uri="{BB962C8B-B14F-4D97-AF65-F5344CB8AC3E}">
        <p14:creationId xmlns:p14="http://schemas.microsoft.com/office/powerpoint/2010/main" val="35786716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FA53D2-6D66-1C8C-67F3-4AFA94D6339A}"/>
              </a:ext>
            </a:extLst>
          </p:cNvPr>
          <p:cNvSpPr>
            <a:spLocks noGrp="1"/>
          </p:cNvSpPr>
          <p:nvPr>
            <p:ph type="body" sz="quarter" idx="49"/>
          </p:nvPr>
        </p:nvSpPr>
        <p:spPr/>
        <p:txBody>
          <a:bodyPr/>
          <a:lstStyle/>
          <a:p>
            <a:r>
              <a:rPr lang="en-IE" dirty="0"/>
              <a:t>Authentizität</a:t>
            </a:r>
          </a:p>
        </p:txBody>
      </p:sp>
      <p:sp>
        <p:nvSpPr>
          <p:cNvPr id="3" name="Text Placeholder 2">
            <a:extLst>
              <a:ext uri="{FF2B5EF4-FFF2-40B4-BE49-F238E27FC236}">
                <a16:creationId xmlns:a16="http://schemas.microsoft.com/office/drawing/2014/main" id="{BE2E7CF5-EE09-0CF8-3FF0-E1CE4685FBA9}"/>
              </a:ext>
            </a:extLst>
          </p:cNvPr>
          <p:cNvSpPr>
            <a:spLocks noGrp="1"/>
          </p:cNvSpPr>
          <p:nvPr>
            <p:ph type="body" sz="quarter" idx="50"/>
          </p:nvPr>
        </p:nvSpPr>
        <p:spPr/>
        <p:txBody>
          <a:bodyPr/>
          <a:lstStyle/>
          <a:p>
            <a:pPr algn="just"/>
            <a:r>
              <a:rPr lang="en-GB" sz="2000" dirty="0"/>
              <a:t>Stellen Sie sicher, dass die Geschichte echt ist und die wahren Werte und Handlungen des Unternehmens widerspiegelt. Authentizität schafft Vertrauen und Glaubwürdigkeit.</a:t>
            </a:r>
            <a:endParaRPr lang="en-IE" sz="2000" dirty="0"/>
          </a:p>
        </p:txBody>
      </p:sp>
      <p:sp>
        <p:nvSpPr>
          <p:cNvPr id="4" name="Text Placeholder 3">
            <a:extLst>
              <a:ext uri="{FF2B5EF4-FFF2-40B4-BE49-F238E27FC236}">
                <a16:creationId xmlns:a16="http://schemas.microsoft.com/office/drawing/2014/main" id="{3A5656AC-92F7-6365-9E8C-99681E775172}"/>
              </a:ext>
            </a:extLst>
          </p:cNvPr>
          <p:cNvSpPr>
            <a:spLocks noGrp="1"/>
          </p:cNvSpPr>
          <p:nvPr>
            <p:ph type="body" sz="quarter" idx="51"/>
          </p:nvPr>
        </p:nvSpPr>
        <p:spPr/>
        <p:txBody>
          <a:bodyPr/>
          <a:lstStyle/>
          <a:p>
            <a:r>
              <a:rPr lang="en-GB" b="1" dirty="0"/>
              <a:t>Relevanz</a:t>
            </a:r>
            <a:endParaRPr lang="en-GB" dirty="0"/>
          </a:p>
          <a:p>
            <a:endParaRPr lang="en-IE" dirty="0"/>
          </a:p>
        </p:txBody>
      </p:sp>
      <p:sp>
        <p:nvSpPr>
          <p:cNvPr id="5" name="Text Placeholder 4">
            <a:extLst>
              <a:ext uri="{FF2B5EF4-FFF2-40B4-BE49-F238E27FC236}">
                <a16:creationId xmlns:a16="http://schemas.microsoft.com/office/drawing/2014/main" id="{6B060D72-7928-666E-3C69-84FBA8C3AE91}"/>
              </a:ext>
            </a:extLst>
          </p:cNvPr>
          <p:cNvSpPr>
            <a:spLocks noGrp="1"/>
          </p:cNvSpPr>
          <p:nvPr>
            <p:ph type="body" sz="quarter" idx="52"/>
          </p:nvPr>
        </p:nvSpPr>
        <p:spPr/>
        <p:txBody>
          <a:bodyPr/>
          <a:lstStyle/>
          <a:p>
            <a:pPr algn="just"/>
            <a:r>
              <a:rPr lang="en-GB" sz="2000" dirty="0"/>
              <a:t>Gestalten Sie die Geschichte entsprechend den Interessen und Anliegen der Zielgruppe. Wenn die Erzählung für ihr Leben und ihre Werte relevant ist, erhöht sich ihre Wirkung.</a:t>
            </a:r>
          </a:p>
          <a:p>
            <a:endParaRPr lang="en-IE" sz="2000" dirty="0"/>
          </a:p>
        </p:txBody>
      </p:sp>
      <p:sp>
        <p:nvSpPr>
          <p:cNvPr id="6" name="Text Placeholder 5">
            <a:extLst>
              <a:ext uri="{FF2B5EF4-FFF2-40B4-BE49-F238E27FC236}">
                <a16:creationId xmlns:a16="http://schemas.microsoft.com/office/drawing/2014/main" id="{FDFE4B12-3B86-9A5B-BC34-FD233D7E8CDE}"/>
              </a:ext>
            </a:extLst>
          </p:cNvPr>
          <p:cNvSpPr>
            <a:spLocks noGrp="1"/>
          </p:cNvSpPr>
          <p:nvPr>
            <p:ph type="body" sz="quarter" idx="54"/>
          </p:nvPr>
        </p:nvSpPr>
        <p:spPr>
          <a:xfrm>
            <a:off x="3892019" y="4499975"/>
            <a:ext cx="7160276" cy="730066"/>
          </a:xfrm>
        </p:spPr>
        <p:txBody>
          <a:bodyPr/>
          <a:lstStyle/>
          <a:p>
            <a:r>
              <a:rPr lang="en-GB" b="1" dirty="0"/>
              <a:t>Auswirkungen</a:t>
            </a:r>
            <a:endParaRPr lang="en-GB" dirty="0"/>
          </a:p>
          <a:p>
            <a:endParaRPr lang="en-IE" dirty="0"/>
          </a:p>
        </p:txBody>
      </p:sp>
      <p:sp>
        <p:nvSpPr>
          <p:cNvPr id="7" name="Text Placeholder 6">
            <a:extLst>
              <a:ext uri="{FF2B5EF4-FFF2-40B4-BE49-F238E27FC236}">
                <a16:creationId xmlns:a16="http://schemas.microsoft.com/office/drawing/2014/main" id="{362465D4-2F1D-C30A-9422-0B0767030CFE}"/>
              </a:ext>
            </a:extLst>
          </p:cNvPr>
          <p:cNvSpPr>
            <a:spLocks noGrp="1"/>
          </p:cNvSpPr>
          <p:nvPr>
            <p:ph type="body" sz="quarter" idx="55"/>
          </p:nvPr>
        </p:nvSpPr>
        <p:spPr>
          <a:xfrm>
            <a:off x="3904200" y="5194802"/>
            <a:ext cx="7378993" cy="945874"/>
          </a:xfrm>
        </p:spPr>
        <p:txBody>
          <a:bodyPr/>
          <a:lstStyle/>
          <a:p>
            <a:pPr algn="just"/>
            <a:r>
              <a:rPr lang="en-GB" sz="2000" dirty="0"/>
              <a:t>Stellen Sie die Vorteile und positiven Ergebnisse von Nachhaltigkeitsinitiativen heraus. Das Aufzeigen der Auswirkungen in der Praxis kann sie inspirieren und motivieren, diese Bemühungen zu unterstützen und sich daran zu beteiligen.</a:t>
            </a:r>
          </a:p>
          <a:p>
            <a:pPr algn="just"/>
            <a:endParaRPr lang="en-IE" sz="2000" dirty="0"/>
          </a:p>
        </p:txBody>
      </p:sp>
      <p:pic>
        <p:nvPicPr>
          <p:cNvPr id="16" name="Picture Placeholder 15" descr="Person reading a book">
            <a:extLst>
              <a:ext uri="{FF2B5EF4-FFF2-40B4-BE49-F238E27FC236}">
                <a16:creationId xmlns:a16="http://schemas.microsoft.com/office/drawing/2014/main" id="{494DF38A-269E-A8D1-CD2C-C69F2B2C8464}"/>
              </a:ext>
            </a:extLst>
          </p:cNvPr>
          <p:cNvPicPr>
            <a:picLocks noGrp="1" noChangeAspect="1"/>
          </p:cNvPicPr>
          <p:nvPr>
            <p:ph type="pic" sz="quarter" idx="23"/>
          </p:nvPr>
        </p:nvPicPr>
        <p:blipFill>
          <a:blip r:embed="rId3" cstate="email">
            <a:extLst>
              <a:ext uri="{28A0092B-C50C-407E-A947-70E740481C1C}">
                <a14:useLocalDpi xmlns:a14="http://schemas.microsoft.com/office/drawing/2010/main"/>
              </a:ext>
            </a:extLst>
          </a:blip>
          <a:srcRect l="11855" r="11855"/>
          <a:stretch>
            <a:fillRect/>
          </a:stretch>
        </p:blipFill>
        <p:spPr/>
      </p:pic>
      <p:pic>
        <p:nvPicPr>
          <p:cNvPr id="14" name="Picture Placeholder 13" descr="Person writing on a notebook">
            <a:extLst>
              <a:ext uri="{FF2B5EF4-FFF2-40B4-BE49-F238E27FC236}">
                <a16:creationId xmlns:a16="http://schemas.microsoft.com/office/drawing/2014/main" id="{EDDAA33A-0EC2-1740-B592-7E8258ED1E93}"/>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Lst>
          </a:blip>
          <a:srcRect l="11862" r="11862"/>
          <a:stretch>
            <a:fillRect/>
          </a:stretch>
        </p:blipFill>
        <p:spPr/>
      </p:pic>
      <p:pic>
        <p:nvPicPr>
          <p:cNvPr id="12" name="Picture Placeholder 11" descr="Fashion designers working together in their studio">
            <a:extLst>
              <a:ext uri="{FF2B5EF4-FFF2-40B4-BE49-F238E27FC236}">
                <a16:creationId xmlns:a16="http://schemas.microsoft.com/office/drawing/2014/main" id="{F92D764D-03C1-9ED5-41EF-18456F7E2A22}"/>
              </a:ext>
            </a:extLst>
          </p:cNvPr>
          <p:cNvPicPr>
            <a:picLocks noGrp="1" noChangeAspect="1"/>
          </p:cNvPicPr>
          <p:nvPr>
            <p:ph type="pic" sz="quarter" idx="57"/>
          </p:nvPr>
        </p:nvPicPr>
        <p:blipFill>
          <a:blip r:embed="rId5" cstate="email">
            <a:extLst>
              <a:ext uri="{28A0092B-C50C-407E-A947-70E740481C1C}">
                <a14:useLocalDpi xmlns:a14="http://schemas.microsoft.com/office/drawing/2010/main"/>
              </a:ext>
            </a:extLst>
          </a:blip>
          <a:srcRect l="11872" r="11872"/>
          <a:stretch>
            <a:fillRect/>
          </a:stretch>
        </p:blipFill>
        <p:spPr/>
      </p:pic>
    </p:spTree>
    <p:extLst>
      <p:ext uri="{BB962C8B-B14F-4D97-AF65-F5344CB8AC3E}">
        <p14:creationId xmlns:p14="http://schemas.microsoft.com/office/powerpoint/2010/main" val="14218303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71850"/>
            <a:ext cx="5510068" cy="614105"/>
          </a:xfrm>
        </p:spPr>
        <p:txBody>
          <a:bodyPr/>
          <a:lstStyle/>
          <a:p>
            <a:r>
              <a:rPr lang="en-US" sz="2800" dirty="0"/>
              <a:t>VERMITTLUNG VON NACHHALTIGKEITSBOTSCHAFT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55174" y="1661020"/>
            <a:ext cx="5196466" cy="4916742"/>
          </a:xfrm>
        </p:spPr>
        <p:txBody>
          <a:bodyPr/>
          <a:lstStyle/>
          <a:p>
            <a:pPr algn="just"/>
            <a:r>
              <a:rPr lang="en-GB" sz="1800" dirty="0"/>
              <a:t>Mit Hilfe von Geschichten können Unternehmen komplexe Nachhaltigkeitskonzepte auf ansprechende und nachvollziehbare Weise vermitteln. </a:t>
            </a:r>
          </a:p>
          <a:p>
            <a:pPr algn="just"/>
            <a:endParaRPr lang="en-GB" sz="1800" dirty="0"/>
          </a:p>
          <a:p>
            <a:pPr algn="just"/>
            <a:r>
              <a:rPr lang="en-GB" sz="1800" dirty="0"/>
              <a:t>Durch das Erzählen von Geschichten über ihren Weg zur Nachhaltigkeit, ihre Herausforderungen und Erfolge können Unternehmen ihre Initiativen für ihr Publikum zugänglicher und verständlicher machen. </a:t>
            </a:r>
          </a:p>
          <a:p>
            <a:pPr algn="just"/>
            <a:endParaRPr lang="en-GB" sz="1800" dirty="0"/>
          </a:p>
          <a:p>
            <a:pPr algn="just"/>
            <a:r>
              <a:rPr lang="en-GB" sz="1800" dirty="0"/>
              <a:t>Dazu gehören Fallstudien zu bestimmten Projekten, Erfahrungsberichte von Mitarbeitern oder Kunden sowie Einblicke hinter die Kulissen der Nachhaltigkeitspraxis.</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1</a:t>
            </a:fld>
            <a:endParaRPr lang="en-US" sz="1291" dirty="0"/>
          </a:p>
        </p:txBody>
      </p:sp>
      <p:pic>
        <p:nvPicPr>
          <p:cNvPr id="5" name="Picture Placeholder 4" descr="Person reading a book">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35" r="21435"/>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6231007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0"/>
            <a:ext cx="5510068" cy="614105"/>
          </a:xfrm>
        </p:spPr>
        <p:txBody>
          <a:bodyPr/>
          <a:lstStyle/>
          <a:p>
            <a:r>
              <a:rPr lang="en-US" sz="2800" dirty="0"/>
              <a:t>AUFBAU EMOTIONALER VERBINDUNG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55174" y="1536494"/>
            <a:ext cx="4939670" cy="4769418"/>
          </a:xfrm>
        </p:spPr>
        <p:txBody>
          <a:bodyPr/>
          <a:lstStyle/>
          <a:p>
            <a:pPr algn="just"/>
            <a:r>
              <a:rPr lang="en-GB" sz="1800" dirty="0"/>
              <a:t>Durch das Erzählen von Geschichten können Unternehmen mit ihrem Publikum auf einer tieferen emotionalen Ebene in Kontakt treten. Authentische Geschichten über die positiven Auswirkungen ihrer Nachhaltigkeitsbemühungen tragen dazu bei, die Marke zu vermenschlichen und bei den Stakeholdern ein Gefühl des gemeinsamen Ziels zu schaffen. </a:t>
            </a:r>
          </a:p>
          <a:p>
            <a:pPr algn="just"/>
            <a:endParaRPr lang="en-GB" sz="1800" dirty="0"/>
          </a:p>
          <a:p>
            <a:pPr algn="just"/>
            <a:r>
              <a:rPr lang="en-GB" sz="1800" dirty="0"/>
              <a:t>Emotionale Erzählungen, die Beispiele aus dem wirklichen Leben hervorheben, wie z. B. die Auswirkungen auf die Gemeinschaft oder die Wiederherstellung der Umwelt, können eine starke Verbindung zum Publikum herstellen und dauerhafte Bindungen schaffen.</a:t>
            </a:r>
            <a:endParaRPr lang="en-US" sz="18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2</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3265596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578902"/>
            <a:ext cx="5510068" cy="614105"/>
          </a:xfrm>
        </p:spPr>
        <p:txBody>
          <a:bodyPr/>
          <a:lstStyle/>
          <a:p>
            <a:r>
              <a:rPr lang="en-US" sz="3200" dirty="0"/>
              <a:t>INSPIRIERENDES HANDEL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355174" y="1417739"/>
            <a:ext cx="4939670" cy="5160023"/>
          </a:xfrm>
        </p:spPr>
        <p:txBody>
          <a:bodyPr/>
          <a:lstStyle/>
          <a:p>
            <a:pPr algn="just"/>
            <a:r>
              <a:rPr lang="en-GB" sz="2000" dirty="0"/>
              <a:t>Überzeugende Erzählungen können Stakeholder dazu motivieren, Maßnahmen zu ergreifen, sei es zur Unterstützung des Unternehmens, zur Einführung nachhaltiger Praktiken oder zur Verbreitung von Nachhaltigkeitsinitiativen. </a:t>
            </a:r>
          </a:p>
          <a:p>
            <a:pPr algn="just"/>
            <a:endParaRPr lang="en-GB" sz="2000" dirty="0"/>
          </a:p>
          <a:p>
            <a:pPr algn="just"/>
            <a:r>
              <a:rPr lang="en-GB" sz="2000" dirty="0"/>
              <a:t>Indem sie die Vorteile und die realen Auswirkungen ihrer Bemühungen hervorheben, können die Unternehmen andere dazu ermutigen, sich ihrem Weg der Nachhaltigkeit anzuschließen. </a:t>
            </a:r>
          </a:p>
          <a:p>
            <a:pPr algn="just"/>
            <a:endParaRPr lang="en-GB" sz="2000" dirty="0"/>
          </a:p>
          <a:p>
            <a:pPr algn="just"/>
            <a:r>
              <a:rPr lang="en-GB" sz="2000" dirty="0"/>
              <a:t>Geschichten, die messbare Ergebnisse und persönliche Erfahrungen aufzeigen, können besonders wirksam sein, um zum Handeln und Engagement anzuregen.</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43</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6438773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6D0A5739-9BFC-8DFB-3286-5FE8FC805541}"/>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7162" r="21874"/>
          <a:stretch/>
        </p:blipFill>
        <p:spPr>
          <a:xfrm>
            <a:off x="-102977" y="0"/>
            <a:ext cx="4993772" cy="6858000"/>
          </a:xfrm>
        </p:spPr>
      </p:pic>
      <p:sp>
        <p:nvSpPr>
          <p:cNvPr id="3" name="Text Placeholder 2">
            <a:extLst>
              <a:ext uri="{FF2B5EF4-FFF2-40B4-BE49-F238E27FC236}">
                <a16:creationId xmlns:a16="http://schemas.microsoft.com/office/drawing/2014/main" id="{5312D0F5-5CC7-B1D3-99A0-321AC682CD95}"/>
              </a:ext>
            </a:extLst>
          </p:cNvPr>
          <p:cNvSpPr>
            <a:spLocks noGrp="1"/>
          </p:cNvSpPr>
          <p:nvPr>
            <p:ph type="body" sz="quarter" idx="30"/>
          </p:nvPr>
        </p:nvSpPr>
        <p:spPr>
          <a:xfrm>
            <a:off x="4370677" y="317364"/>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C331C73A-1463-BC90-A6FB-B72735CCCF19}"/>
              </a:ext>
            </a:extLst>
          </p:cNvPr>
          <p:cNvSpPr>
            <a:spLocks noGrp="1"/>
          </p:cNvSpPr>
          <p:nvPr>
            <p:ph type="body" sz="quarter" idx="48"/>
          </p:nvPr>
        </p:nvSpPr>
        <p:spPr>
          <a:xfrm>
            <a:off x="5226342" y="1342240"/>
            <a:ext cx="6273272" cy="4439590"/>
          </a:xfrm>
        </p:spPr>
        <p:txBody>
          <a:bodyPr/>
          <a:lstStyle/>
          <a:p>
            <a:pPr algn="just"/>
            <a:r>
              <a:rPr lang="en-GB" sz="1800" b="1" dirty="0"/>
              <a:t>Workshop zum Geschichtenerzählen über Nachhaltigkeit</a:t>
            </a:r>
          </a:p>
          <a:p>
            <a:pPr algn="just"/>
            <a:r>
              <a:rPr lang="en-GB" sz="1800" b="1" dirty="0"/>
              <a:t>Zielsetzung: </a:t>
            </a:r>
            <a:r>
              <a:rPr lang="en-GB" sz="1800" dirty="0"/>
              <a:t>Erarbeitung einer überzeugenden Nachhaltigkeitsgeschichte.</a:t>
            </a:r>
          </a:p>
          <a:p>
            <a:pPr algn="just"/>
            <a:endParaRPr lang="en-GB" sz="1800" dirty="0"/>
          </a:p>
          <a:p>
            <a:pPr algn="just"/>
            <a:r>
              <a:rPr lang="en-GB" sz="1800" b="1" dirty="0"/>
              <a:t>Szenario-Aufgabe: </a:t>
            </a:r>
            <a:r>
              <a:rPr lang="en-GB" sz="1800" dirty="0"/>
              <a:t>Teilen Sie sich in Gruppen auf und erhalten Sie ein Nachhaltigkeitsszenario. (nachhaltige Mode oder umweltfreundliche Produkteinführung).</a:t>
            </a:r>
          </a:p>
          <a:p>
            <a:pPr algn="just"/>
            <a:endParaRPr lang="en-GB" sz="900" dirty="0"/>
          </a:p>
          <a:p>
            <a:pPr algn="just"/>
            <a:r>
              <a:rPr lang="en-GB" sz="1800" b="1" dirty="0"/>
              <a:t>Entwicklung einer Geschichte: </a:t>
            </a:r>
            <a:r>
              <a:rPr lang="en-GB" sz="1800" dirty="0"/>
              <a:t>Brainstorming und Ausarbeitung einer Erzählung, die die Werte der Nachhaltigkeit hervorhebt.</a:t>
            </a:r>
          </a:p>
          <a:p>
            <a:pPr algn="just"/>
            <a:endParaRPr lang="en-GB" sz="900" dirty="0"/>
          </a:p>
          <a:p>
            <a:pPr algn="just"/>
            <a:r>
              <a:rPr lang="en-GB" sz="1800" b="1" dirty="0"/>
              <a:t>Vorbereitung der Präsentation: </a:t>
            </a:r>
            <a:r>
              <a:rPr lang="en-GB" sz="1800" dirty="0"/>
              <a:t>Bereiten Sie sich darauf vor, die Geschichte mit der Klasse zu teilen.</a:t>
            </a:r>
          </a:p>
          <a:p>
            <a:pPr algn="just"/>
            <a:endParaRPr lang="en-GB" sz="900" dirty="0"/>
          </a:p>
          <a:p>
            <a:pPr algn="just"/>
            <a:r>
              <a:rPr lang="en-GB" sz="1800" b="1" dirty="0"/>
              <a:t>Feedback-Sitzung: </a:t>
            </a:r>
            <a:r>
              <a:rPr lang="en-GB" sz="1800" dirty="0"/>
              <a:t>Geben Sie sich gegenseitig konstruktives Feedback zu Ihren Erzählungen.</a:t>
            </a:r>
          </a:p>
          <a:p>
            <a:pPr algn="just"/>
            <a:endParaRPr lang="en-GB" sz="900" dirty="0"/>
          </a:p>
          <a:p>
            <a:pPr algn="just"/>
            <a:r>
              <a:rPr lang="en-GB" sz="1800" b="1" dirty="0"/>
              <a:t>Ergebnis: </a:t>
            </a:r>
            <a:r>
              <a:rPr lang="en-GB" sz="1800" dirty="0"/>
              <a:t>Verbesserte Fähigkeiten bei der Erstellung wirkungsvoller Nachhaltigkeitsgeschichten unter Berücksichtigung kultureller und ethischer Aspekte.</a:t>
            </a:r>
            <a:endParaRPr lang="en-IE" sz="1800" dirty="0"/>
          </a:p>
          <a:p>
            <a:endParaRPr lang="en-IE" sz="1800" dirty="0"/>
          </a:p>
        </p:txBody>
      </p:sp>
    </p:spTree>
    <p:extLst>
      <p:ext uri="{BB962C8B-B14F-4D97-AF65-F5344CB8AC3E}">
        <p14:creationId xmlns:p14="http://schemas.microsoft.com/office/powerpoint/2010/main" val="18054475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440212"/>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4: Hochwertige Bildung</a:t>
            </a:r>
            <a:r>
              <a:rPr lang="en-GB" sz="2000" b="1" dirty="0"/>
              <a:t>: </a:t>
            </a:r>
            <a:r>
              <a:rPr lang="en-GB" sz="2000" dirty="0"/>
              <a:t>Der Schwerpunkt liegt auf den pädagogischen Aspekten des Geschichtenerzählens, indem vermittelt wird, wie wirkungsvolle Erzählungen das Publikum über Nachhaltigkeitsthemen und -praktiken aufklären und informieren könn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2: Verantwortungsbewusster Konsum und Produktion</a:t>
            </a:r>
            <a:r>
              <a:rPr lang="en-GB" sz="2000" b="1" dirty="0"/>
              <a:t>: </a:t>
            </a:r>
            <a:r>
              <a:rPr lang="en-GB" sz="2000" dirty="0"/>
              <a:t>Fördert die Transparenz in Unternehmensberichten, indem es die Erstellung von Geschichten fördert, die einen verantwortungsvollen Konsum und nachhaltige Produktionspraktiken hervorheben, sowie eine transparente Kommunikation über diese Bemühungen.</a:t>
            </a:r>
          </a:p>
          <a:p>
            <a:pPr algn="just"/>
            <a:endParaRPr lang="en-GB" sz="2000" b="1"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3: Klimapolitik</a:t>
            </a:r>
            <a:r>
              <a:rPr lang="en-GB" sz="2000" b="1" dirty="0"/>
              <a:t>: </a:t>
            </a:r>
            <a:r>
              <a:rPr lang="en-GB" sz="2000" dirty="0"/>
              <a:t>Nutzt Storytelling zur Sensibilisierung für den Klimawandel, indem es die Auswirkungen des Klimawandels durch Erzählungen veranschaulicht, für nachhaltige Praktiken eintritt und zu Maßnahmen zur Eindämmung des Klimawandels und zur Anpassung an den Klimawandel inspiriert.</a:t>
            </a:r>
          </a:p>
          <a:p>
            <a:pPr algn="just"/>
            <a:endParaRPr lang="en-GB" sz="2000" b="1" dirty="0"/>
          </a:p>
        </p:txBody>
      </p:sp>
      <p:pic>
        <p:nvPicPr>
          <p:cNvPr id="4" name="Picture 2">
            <a:extLst>
              <a:ext uri="{FF2B5EF4-FFF2-40B4-BE49-F238E27FC236}">
                <a16:creationId xmlns:a16="http://schemas.microsoft.com/office/drawing/2014/main" id="{79E1185B-67B8-C67C-AC01-A2FA45894D7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863744" y="82587"/>
            <a:ext cx="1182846" cy="1182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35864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440212"/>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16: Frieden, Gerechtigkeit und starke Institutionen</a:t>
            </a:r>
            <a:r>
              <a:rPr lang="en-GB" sz="2000" b="1" dirty="0"/>
              <a:t>: </a:t>
            </a:r>
            <a:r>
              <a:rPr lang="en-GB" sz="2000" dirty="0"/>
              <a:t>Unterstützt soziale Gerechtigkeit durch Geschichten, die Gerechtigkeit, Fairness und Inklusivität fördern und so zur Schaffung starker Institutionen und zur Förderung des sozialen Zusammenhalts beitragen.</a:t>
            </a:r>
          </a:p>
          <a:p>
            <a:pPr algn="just"/>
            <a:endParaRPr lang="en-GB" sz="2000" b="1"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3: Gute Gesundheit und Wohlbefinden</a:t>
            </a:r>
            <a:r>
              <a:rPr lang="en-GB" sz="2000" b="1" dirty="0"/>
              <a:t>: </a:t>
            </a:r>
            <a:r>
              <a:rPr lang="en-GB" sz="2000" dirty="0"/>
              <a:t>Veranschaulicht die emotionalen Auswirkungen des Geschichtenerzählens, indem es untersucht, wie Erzählungen das Wohlbefinden positiv beeinflussen, das Bewusstsein für psychische Gesundheitsprobleme im Zusammenhang mit Nachhaltigkeit schärfen und zu Handlungen anregen können, die zu besseren Gesundheitsergebnissen beitragen.</a:t>
            </a:r>
            <a:endParaRPr lang="en-IE" sz="2000" dirty="0"/>
          </a:p>
        </p:txBody>
      </p:sp>
      <p:pic>
        <p:nvPicPr>
          <p:cNvPr id="4" name="Picture 2">
            <a:extLst>
              <a:ext uri="{FF2B5EF4-FFF2-40B4-BE49-F238E27FC236}">
                <a16:creationId xmlns:a16="http://schemas.microsoft.com/office/drawing/2014/main" id="{ACA4728D-0965-BFB4-4CE3-ECFA0CBF936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01493" y="93073"/>
            <a:ext cx="1161874" cy="1161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22355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dirty="0"/>
              <a:t>ENTRECOMP-AUSRICHTUNG</a:t>
            </a:r>
            <a:endParaRPr lang="en-IE"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560353"/>
            <a:ext cx="10483429" cy="4743778"/>
          </a:xfrm>
        </p:spPr>
        <p:txBody>
          <a:bodyPr/>
          <a:lstStyle/>
          <a:p>
            <a:pPr algn="just"/>
            <a:r>
              <a:rPr lang="en-GB" b="1" dirty="0"/>
              <a:t>2.1 Selbstbewußtsein und Selbstwirksamkeit: </a:t>
            </a:r>
            <a:r>
              <a:rPr lang="en-GB" dirty="0"/>
              <a:t>Durch die Erarbeitung von Nachhaltigkeitsberichten fördert die Einheit das Selbstbewusstsein und den Glauben an die eigene Fähigkeit, Werte effektiv zu vermitteln und das Publikum einzubeziehen.</a:t>
            </a:r>
          </a:p>
          <a:p>
            <a:pPr algn="just"/>
            <a:endParaRPr lang="en-GB" dirty="0"/>
          </a:p>
          <a:p>
            <a:pPr algn="just"/>
            <a:r>
              <a:rPr lang="en-GB" b="1" dirty="0"/>
              <a:t>3.1 Die Initiative ergreifen: </a:t>
            </a:r>
            <a:r>
              <a:rPr lang="en-GB" dirty="0"/>
              <a:t>Die Lernenden werden dazu ermutigt, eigenständig strategische Ansätze für das Geschichtenerzählen zu entwickeln, die Nachhaltigkeitsbotschaften effektiv vermitteln und beim Zielpublikum ankommen.</a:t>
            </a:r>
          </a:p>
          <a:p>
            <a:pPr algn="just"/>
            <a:endParaRPr lang="en-GB" dirty="0"/>
          </a:p>
        </p:txBody>
      </p:sp>
      <p:pic>
        <p:nvPicPr>
          <p:cNvPr id="4" name="Picture 3">
            <a:extLst>
              <a:ext uri="{FF2B5EF4-FFF2-40B4-BE49-F238E27FC236}">
                <a16:creationId xmlns:a16="http://schemas.microsoft.com/office/drawing/2014/main" id="{C05C09F8-1756-5844-4BF5-02CB2FD7E2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43625" y="550054"/>
            <a:ext cx="1547501" cy="860600"/>
          </a:xfrm>
          <a:prstGeom prst="rect">
            <a:avLst/>
          </a:prstGeom>
        </p:spPr>
      </p:pic>
    </p:spTree>
    <p:extLst>
      <p:ext uri="{BB962C8B-B14F-4D97-AF65-F5344CB8AC3E}">
        <p14:creationId xmlns:p14="http://schemas.microsoft.com/office/powerpoint/2010/main" val="4309146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dirty="0"/>
              <a:t>ENTRECOMP-AUSRICHTUNG</a:t>
            </a:r>
            <a:endParaRPr lang="en-IE"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560353"/>
            <a:ext cx="10483429" cy="4743778"/>
          </a:xfrm>
        </p:spPr>
        <p:txBody>
          <a:bodyPr/>
          <a:lstStyle/>
          <a:p>
            <a:pPr algn="just"/>
            <a:r>
              <a:rPr lang="en-GB" b="1" dirty="0"/>
              <a:t>3.3 Umgang mit Unsicherheit, Mehrdeutigkeit und Risiko: </a:t>
            </a:r>
            <a:r>
              <a:rPr lang="en-GB" dirty="0"/>
              <a:t>Die Einheit leitet die Lernenden an, die Komplexität des Geschichtenerzählens zu bewältigen, einschließlich ethischer Überlegungen und kultureller Empfindlichkeiten, und bereitet sie darauf vor, mit den Risiken umzugehen, die mit der Erstellung von Erzählungen verbunden sind.</a:t>
            </a:r>
          </a:p>
          <a:p>
            <a:pPr algn="just"/>
            <a:endParaRPr lang="en-GB" dirty="0"/>
          </a:p>
          <a:p>
            <a:pPr algn="just"/>
            <a:r>
              <a:rPr lang="en-GB" b="1" dirty="0"/>
              <a:t>2.5 Andere mobilisieren: </a:t>
            </a:r>
            <a:r>
              <a:rPr lang="en-GB" dirty="0"/>
              <a:t>Durch die Betonung der Kraft des Geschichtenerzählens, das zum Handeln und zur Empathie anregt, stattet die Einheit die Schüler mit Fähigkeiten aus, um andere zu nachhaltigen Praktiken und sozialem Wandel zu bewegen.</a:t>
            </a:r>
            <a:endParaRPr lang="en-IE" dirty="0"/>
          </a:p>
        </p:txBody>
      </p:sp>
      <p:pic>
        <p:nvPicPr>
          <p:cNvPr id="4" name="Picture 3">
            <a:extLst>
              <a:ext uri="{FF2B5EF4-FFF2-40B4-BE49-F238E27FC236}">
                <a16:creationId xmlns:a16="http://schemas.microsoft.com/office/drawing/2014/main" id="{C05C09F8-1756-5844-4BF5-02CB2FD7E2C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43625" y="550054"/>
            <a:ext cx="1547501" cy="860600"/>
          </a:xfrm>
          <a:prstGeom prst="rect">
            <a:avLst/>
          </a:prstGeom>
        </p:spPr>
      </p:pic>
    </p:spTree>
    <p:extLst>
      <p:ext uri="{BB962C8B-B14F-4D97-AF65-F5344CB8AC3E}">
        <p14:creationId xmlns:p14="http://schemas.microsoft.com/office/powerpoint/2010/main" val="19879341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0D6E90DB-97A0-2949-A33F-B6F88B39C13E}"/>
              </a:ext>
            </a:extLst>
          </p:cNvPr>
          <p:cNvPicPr>
            <a:picLocks noGrp="1" noChangeAspect="1"/>
          </p:cNvPicPr>
          <p:nvPr>
            <p:ph type="pic" sz="quarter" idx="21"/>
          </p:nvPr>
        </p:nvPicPr>
        <p:blipFill rotWithShape="1">
          <a:blip r:embed="rId2"/>
          <a:srcRect l="2351" r="32836"/>
          <a:stretch/>
        </p:blipFill>
        <p:spPr>
          <a:xfrm>
            <a:off x="884606" y="0"/>
            <a:ext cx="4993772" cy="6858000"/>
          </a:xfrm>
        </p:spPr>
      </p:pic>
      <p:sp>
        <p:nvSpPr>
          <p:cNvPr id="3" name="Text Placeholder 2">
            <a:extLst>
              <a:ext uri="{FF2B5EF4-FFF2-40B4-BE49-F238E27FC236}">
                <a16:creationId xmlns:a16="http://schemas.microsoft.com/office/drawing/2014/main" id="{CA3B51A3-DEEC-6CC6-D5F9-1C2C631D895E}"/>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180ACFC8-5BAC-68DB-C058-BAA52B66A4BC}"/>
              </a:ext>
            </a:extLst>
          </p:cNvPr>
          <p:cNvSpPr>
            <a:spLocks noGrp="1"/>
          </p:cNvSpPr>
          <p:nvPr>
            <p:ph type="body" sz="quarter" idx="48"/>
          </p:nvPr>
        </p:nvSpPr>
        <p:spPr>
          <a:xfrm>
            <a:off x="6313624" y="2091267"/>
            <a:ext cx="4939670" cy="3889855"/>
          </a:xfrm>
        </p:spPr>
        <p:txBody>
          <a:bodyPr/>
          <a:lstStyle/>
          <a:p>
            <a:r>
              <a:rPr lang="en-GB" sz="2400" b="1" i="0" dirty="0">
                <a:effectLst/>
                <a:highlight>
                  <a:srgbClr val="FFFFFF"/>
                </a:highlight>
                <a:latin typeface="var(--artdeco-reset-typography-font-family-sans)"/>
                <a:hlinkClick r:id="rId3"/>
              </a:rPr>
              <a:t>Die Macht des Storytellings für Ihr Unternehmen</a:t>
            </a:r>
            <a:r>
              <a:rPr lang="en-GB" sz="2400" b="1" i="0" dirty="0">
                <a:effectLst/>
                <a:highlight>
                  <a:srgbClr val="FFFFFF"/>
                </a:highlight>
                <a:latin typeface="var(--artdeco-reset-typography-font-family-sans)"/>
              </a:rPr>
              <a:t>: Entfesseln Sie Ihren inneren Geschichtenerzähler</a:t>
            </a:r>
            <a:endParaRPr lang="en-GB" sz="2400" i="0" dirty="0">
              <a:effectLst/>
              <a:highlight>
                <a:srgbClr val="FFFFFF"/>
              </a:highlight>
              <a:latin typeface="var(--artdeco-reset-typography-font-family-sans)"/>
            </a:endParaRPr>
          </a:p>
          <a:p>
            <a:endParaRPr lang="en-GB" sz="2400" dirty="0">
              <a:highlight>
                <a:srgbClr val="FFFFFF"/>
              </a:highlight>
              <a:latin typeface="var(--artdeco-reset-typography-font-family-sans)"/>
            </a:endParaRPr>
          </a:p>
          <a:p>
            <a:r>
              <a:rPr lang="en-GB" sz="2400" b="1" dirty="0">
                <a:highlight>
                  <a:srgbClr val="FFFFFF"/>
                </a:highlight>
                <a:latin typeface="var(--artdeco-reset-typography-font-family-sans)"/>
                <a:hlinkClick r:id="rId4"/>
              </a:rPr>
              <a:t>Die Macht des Geschichtenerzählens bei der Förderung des nachhaltigen Konsums </a:t>
            </a:r>
            <a:endParaRPr lang="en-GB" sz="2400" dirty="0">
              <a:highlight>
                <a:srgbClr val="FFFFFF"/>
              </a:highlight>
              <a:latin typeface="var(--artdeco-reset-typography-font-family-sans)"/>
            </a:endParaRPr>
          </a:p>
          <a:p>
            <a:endParaRPr lang="en-GB" sz="2400" dirty="0">
              <a:highlight>
                <a:srgbClr val="FFFFFF"/>
              </a:highlight>
              <a:latin typeface="var(--artdeco-reset-typography-font-family-sans)"/>
            </a:endParaRPr>
          </a:p>
          <a:p>
            <a:r>
              <a:rPr lang="en-GB" sz="2400" b="1" dirty="0">
                <a:highlight>
                  <a:srgbClr val="FFFFFF"/>
                </a:highlight>
                <a:latin typeface="var(--artdeco-reset-typography-font-family-sans)"/>
                <a:hlinkClick r:id="rId5"/>
              </a:rPr>
              <a:t>Geschichtenerzählen zur Rettung des Planeten </a:t>
            </a:r>
            <a:endParaRPr lang="en-GB" sz="2400" dirty="0">
              <a:highlight>
                <a:srgbClr val="FFFFFF"/>
              </a:highlight>
              <a:latin typeface="var(--artdeco-reset-typography-font-family-sans)"/>
            </a:endParaRPr>
          </a:p>
          <a:p>
            <a:endParaRPr lang="en-GB" sz="2400" i="0" dirty="0">
              <a:effectLst/>
              <a:highlight>
                <a:srgbClr val="FFFFFF"/>
              </a:highlight>
              <a:latin typeface="-apple-system"/>
            </a:endParaRPr>
          </a:p>
        </p:txBody>
      </p:sp>
      <p:grpSp>
        <p:nvGrpSpPr>
          <p:cNvPr id="2" name="Graphic 4">
            <a:extLst>
              <a:ext uri="{FF2B5EF4-FFF2-40B4-BE49-F238E27FC236}">
                <a16:creationId xmlns:a16="http://schemas.microsoft.com/office/drawing/2014/main" id="{02C16C60-DE6E-D119-54A3-14F6EB48D137}"/>
              </a:ext>
            </a:extLst>
          </p:cNvPr>
          <p:cNvGrpSpPr/>
          <p:nvPr/>
        </p:nvGrpSpPr>
        <p:grpSpPr>
          <a:xfrm rot="19582332">
            <a:off x="10447712" y="785270"/>
            <a:ext cx="403667" cy="780438"/>
            <a:chOff x="9129274" y="2719113"/>
            <a:chExt cx="717139" cy="1386497"/>
          </a:xfrm>
          <a:solidFill>
            <a:srgbClr val="09465E"/>
          </a:solidFill>
        </p:grpSpPr>
        <p:grpSp>
          <p:nvGrpSpPr>
            <p:cNvPr id="5" name="Graphic 4">
              <a:extLst>
                <a:ext uri="{FF2B5EF4-FFF2-40B4-BE49-F238E27FC236}">
                  <a16:creationId xmlns:a16="http://schemas.microsoft.com/office/drawing/2014/main" id="{76F79401-5F99-9B54-94D4-45138232A1C5}"/>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829F251A-508E-52DF-5E5D-51C86F77A169}"/>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E490327A-5050-6516-53FA-AEE70D55B782}"/>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7" name="Graphic 4">
              <a:extLst>
                <a:ext uri="{FF2B5EF4-FFF2-40B4-BE49-F238E27FC236}">
                  <a16:creationId xmlns:a16="http://schemas.microsoft.com/office/drawing/2014/main" id="{F783BAFE-DBB8-77A0-B8BB-6C1ABEBA7A28}"/>
                </a:ext>
              </a:extLst>
            </p:cNvPr>
            <p:cNvGrpSpPr/>
            <p:nvPr/>
          </p:nvGrpSpPr>
          <p:grpSpPr>
            <a:xfrm>
              <a:off x="9129274" y="2893887"/>
              <a:ext cx="717139" cy="1211724"/>
              <a:chOff x="9129274" y="2893887"/>
              <a:chExt cx="717139" cy="1211724"/>
            </a:xfrm>
            <a:grpFill/>
          </p:grpSpPr>
          <p:sp>
            <p:nvSpPr>
              <p:cNvPr id="8" name="Freeform 50">
                <a:extLst>
                  <a:ext uri="{FF2B5EF4-FFF2-40B4-BE49-F238E27FC236}">
                    <a16:creationId xmlns:a16="http://schemas.microsoft.com/office/drawing/2014/main" id="{D9B8113C-6561-FD1E-B42E-CEE386FE129B}"/>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625DC0D5-F0EF-8EDE-AE67-4B7D71C1D6C4}"/>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ACDC48C2-B30F-E471-B6DE-956935CABC3A}"/>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78D3717D-41E7-5597-1125-781DB8569198}"/>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BBB77163-9846-3E37-0328-3DDF316F379F}"/>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138C56DC-D41F-0273-DEAF-FB40899DEABE}"/>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C8A0B247-C71F-F458-CDE9-C47B9C9FCD6F}"/>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707446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436229"/>
            <a:ext cx="10483431" cy="1162388"/>
          </a:xfrm>
        </p:spPr>
        <p:txBody>
          <a:bodyPr/>
          <a:lstStyle/>
          <a:p>
            <a:r>
              <a:rPr lang="en-GB" dirty="0">
                <a:solidFill>
                  <a:srgbClr val="DB176A"/>
                </a:solidFill>
              </a:rPr>
              <a:t>DURCH EINE GRÜNDLICHE MARKTANALYSE KÖNNEN UNTERNEHMEN:</a:t>
            </a:r>
            <a:endParaRPr lang="en-US" dirty="0">
              <a:solidFill>
                <a:srgbClr val="DB176A"/>
              </a:solidFill>
            </a:endParaRPr>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875453"/>
            <a:ext cx="10483429" cy="4439577"/>
          </a:xfrm>
        </p:spPr>
        <p:txBody>
          <a:bodyPr/>
          <a:lstStyle/>
          <a:p>
            <a:pPr algn="just"/>
            <a:r>
              <a:rPr lang="en-GB" sz="2000" b="1" dirty="0">
                <a:solidFill>
                  <a:srgbClr val="F36C2F"/>
                </a:solidFill>
              </a:rPr>
              <a:t>Identifizieren Sie nachhaltige Geschäftsmöglichkeiten: </a:t>
            </a:r>
            <a:r>
              <a:rPr lang="en-GB" sz="2000" dirty="0"/>
              <a:t>Marktanalysen helfen Unternehmen dabei, Marktlücken und -chancen zu erkennen, in denen nachhaltige Lösungen einen wesentlichen Beitrag leisten können. Ganz gleich, ob es um Umweltbelange, soziale Fragen oder ethische Erwägungen geht, die Marktanalyse bietet wertvolle Einblicke in Bereiche, die reif für nachhaltige Innovationen sind.</a:t>
            </a:r>
          </a:p>
          <a:p>
            <a:pPr algn="just"/>
            <a:endParaRPr lang="en-GB" sz="2000" dirty="0"/>
          </a:p>
          <a:p>
            <a:pPr algn="just"/>
            <a:r>
              <a:rPr lang="en-GB" sz="2000" b="1" dirty="0"/>
              <a:t>Verstehen Sie die Verbraucherpräferenzen: </a:t>
            </a:r>
            <a:r>
              <a:rPr lang="en-GB" sz="2000" dirty="0"/>
              <a:t>Die Vorlieben der Verbraucher entwickeln sich ständig weiter, wobei der Schwerpunkt zunehmend auf Nachhaltigkeit und ethischem Konsum liegt. Marktanalysen ermöglichen es Unternehmen, diesen Trends voraus zu sein, indem sie verstehen, was das Verbraucherverhalten und die Entscheidungsfindung beeinflusst. Indem sie ihr Angebot auf die Werte und Vorlieben der Verbraucher abstimmen, können Unternehmen Produkte und Dienstleistungen entwickeln, die bei ihrer Zielgruppe Anklang finden.</a:t>
            </a:r>
            <a:endParaRPr lang="en-US" sz="2000" dirty="0"/>
          </a:p>
        </p:txBody>
      </p:sp>
    </p:spTree>
    <p:extLst>
      <p:ext uri="{BB962C8B-B14F-4D97-AF65-F5344CB8AC3E}">
        <p14:creationId xmlns:p14="http://schemas.microsoft.com/office/powerpoint/2010/main" val="11048563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Woman's hand touching wheat in field">
            <a:extLst>
              <a:ext uri="{FF2B5EF4-FFF2-40B4-BE49-F238E27FC236}">
                <a16:creationId xmlns:a16="http://schemas.microsoft.com/office/drawing/2014/main" id="{355B26FD-09B0-A84D-1257-B7B4B9F53B75}"/>
              </a:ext>
            </a:extLst>
          </p:cNvPr>
          <p:cNvPicPr>
            <a:picLocks noGrp="1" noChangeAspect="1"/>
          </p:cNvPicPr>
          <p:nvPr>
            <p:ph type="pic" sz="quarter" idx="19"/>
          </p:nvPr>
        </p:nvPicPr>
        <p:blipFill>
          <a:blip r:embed="rId2" cstate="email">
            <a:extLst>
              <a:ext uri="{28A0092B-C50C-407E-A947-70E740481C1C}">
                <a14:useLocalDpi xmlns:a14="http://schemas.microsoft.com/office/drawing/2010/main"/>
              </a:ext>
            </a:extLst>
          </a:blip>
          <a:srcRect t="11644" b="11644"/>
          <a:stretch/>
        </p:blipFill>
        <p:spPr/>
      </p:pic>
      <p:sp>
        <p:nvSpPr>
          <p:cNvPr id="11" name="Text Placeholder 10">
            <a:extLst>
              <a:ext uri="{FF2B5EF4-FFF2-40B4-BE49-F238E27FC236}">
                <a16:creationId xmlns:a16="http://schemas.microsoft.com/office/drawing/2014/main" id="{09DE250D-399D-3046-A104-9E1DCF4E2437}"/>
              </a:ext>
            </a:extLst>
          </p:cNvPr>
          <p:cNvSpPr>
            <a:spLocks noGrp="1"/>
          </p:cNvSpPr>
          <p:nvPr>
            <p:ph type="body" sz="quarter" idx="18"/>
          </p:nvPr>
        </p:nvSpPr>
        <p:spPr>
          <a:xfrm>
            <a:off x="8634199" y="1109465"/>
            <a:ext cx="3421965" cy="2850370"/>
          </a:xfrm>
        </p:spPr>
        <p:txBody>
          <a:bodyPr/>
          <a:lstStyle/>
          <a:p>
            <a:r>
              <a:rPr lang="en-US" b="1" dirty="0"/>
              <a:t>NACHHALTIGKEITS-BERICHTERSTATTUNG</a:t>
            </a:r>
          </a:p>
        </p:txBody>
      </p:sp>
      <p:sp>
        <p:nvSpPr>
          <p:cNvPr id="3" name="Text Placeholder 2">
            <a:extLst>
              <a:ext uri="{FF2B5EF4-FFF2-40B4-BE49-F238E27FC236}">
                <a16:creationId xmlns:a16="http://schemas.microsoft.com/office/drawing/2014/main" id="{DA99C726-EEB8-A064-EA02-A4AF797D25D2}"/>
              </a:ext>
            </a:extLst>
          </p:cNvPr>
          <p:cNvSpPr>
            <a:spLocks noGrp="1"/>
          </p:cNvSpPr>
          <p:nvPr>
            <p:ph type="body" sz="quarter" idx="20"/>
          </p:nvPr>
        </p:nvSpPr>
        <p:spPr/>
        <p:txBody>
          <a:bodyPr/>
          <a:lstStyle/>
          <a:p>
            <a:r>
              <a:rPr lang="en-US" dirty="0"/>
              <a:t>05</a:t>
            </a:r>
          </a:p>
        </p:txBody>
      </p:sp>
      <p:grpSp>
        <p:nvGrpSpPr>
          <p:cNvPr id="8" name="Group 7">
            <a:extLst>
              <a:ext uri="{FF2B5EF4-FFF2-40B4-BE49-F238E27FC236}">
                <a16:creationId xmlns:a16="http://schemas.microsoft.com/office/drawing/2014/main" id="{EFC269B5-580C-6975-B51C-ADEE7E50B0E8}"/>
              </a:ext>
            </a:extLst>
          </p:cNvPr>
          <p:cNvGrpSpPr/>
          <p:nvPr/>
        </p:nvGrpSpPr>
        <p:grpSpPr>
          <a:xfrm rot="5400000">
            <a:off x="-1445174" y="567935"/>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C26FADDA-722B-2ED9-5AFA-764A2D4D5CE1}"/>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E5BDF59-10F0-1296-8959-CFAEB7F9E3B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AB2503B3-B0B4-561D-AFD2-7A7FD03493A8}"/>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90799E-0CE3-1994-3C5C-26F8F0C021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4575BD6-F388-ED1D-DEA0-7B377CF35F18}"/>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022C8786-CCBE-7B61-AD0C-5F3FCE59BE3D}"/>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7751204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1</a:t>
            </a:fld>
            <a:endParaRPr lang="en-US" sz="1291" dirty="0"/>
          </a:p>
        </p:txBody>
      </p:sp>
      <p:pic>
        <p:nvPicPr>
          <p:cNvPr id="9" name="Picture Placeholder 8" descr="Magnifying glass showing decling performance">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734" r="25734"/>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317364"/>
            <a:ext cx="3567405" cy="842867"/>
          </a:xfrm>
        </p:spPr>
        <p:txBody>
          <a:bodyPr/>
          <a:lstStyle/>
          <a:p>
            <a:r>
              <a:rPr lang="en-US" dirty="0"/>
              <a:t>EINFÜHR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15995" y="1361620"/>
            <a:ext cx="5679594" cy="5179015"/>
          </a:xfrm>
          <a:solidFill>
            <a:schemeClr val="bg1"/>
          </a:solidFill>
        </p:spPr>
        <p:txBody>
          <a:bodyPr/>
          <a:lstStyle/>
          <a:p>
            <a:pPr algn="just"/>
            <a:r>
              <a:rPr lang="en-GB" sz="2400" dirty="0"/>
              <a:t>Die Nachhaltigkeitsberichterstattung hat sich von einer reinen Offenlegung der Umweltauswirkungen zu einem umfassenden Kommunikationsinstrument entwickelt, das wirtschaftliche, ökologische, soziale und Governance-Faktoren (ESG) integriert.</a:t>
            </a:r>
          </a:p>
          <a:p>
            <a:pPr algn="just"/>
            <a:endParaRPr lang="en-GB" sz="2400" dirty="0"/>
          </a:p>
          <a:p>
            <a:pPr algn="just"/>
            <a:r>
              <a:rPr lang="en-GB" sz="2400" dirty="0"/>
              <a:t>Diese Lerneinheit soll Ihnen die wesentlichen Kenntnisse und Fähigkeiten vermitteln, um Nachhaltigkeitsberichte zu verstehen, zu erstellen und effektiv zu kommunizieren. </a:t>
            </a:r>
          </a:p>
        </p:txBody>
      </p:sp>
    </p:spTree>
    <p:extLst>
      <p:ext uri="{BB962C8B-B14F-4D97-AF65-F5344CB8AC3E}">
        <p14:creationId xmlns:p14="http://schemas.microsoft.com/office/powerpoint/2010/main" val="20685689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p:txBody>
          <a:bodyPr/>
          <a:lstStyle/>
          <a:p>
            <a:r>
              <a:rPr lang="en-GB" sz="3200" b="1" dirty="0"/>
              <a:t>EINFÜHRUNG IN DIE NACHHALTIGKEITSBERICHTERSTATTUNG</a:t>
            </a:r>
            <a:endParaRPr lang="en-GB" sz="3200"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p:txBody>
          <a:bodyPr/>
          <a:lstStyle/>
          <a:p>
            <a:pPr algn="just"/>
            <a:r>
              <a:rPr lang="en-GB" sz="2000" dirty="0"/>
              <a:t>Bei der Nachhaltigkeitsberichterstattung geht es um die Kommunikation von Umwelt-, Sozial- und Governance-Aspekten (ESG) der Tätigkeit einer Organisation. Sie zielt darauf ab, den Stakeholdern Transparenz über die Nachhaltigkeitsbemühungen und -auswirkungen der Organisation zu bieten. Diese Praxis hat in der modernen Geschäftswelt zunehmend an Bedeutung gewonnen, da die Stakeholder, darunter Investoren, Kunden, Mitarbeiter und Gemeinden, von den Unternehmen mehr Rechenschaftspflicht und Verantwortung verlangen.</a:t>
            </a:r>
          </a:p>
          <a:p>
            <a:pPr algn="just"/>
            <a:endParaRPr lang="en-GB" sz="2000" dirty="0"/>
          </a:p>
          <a:p>
            <a:pPr algn="just"/>
            <a:r>
              <a:rPr lang="en-GB" sz="2000" dirty="0"/>
              <a:t>Eine transparente Nachhaltigkeitsberichterstattung stärkt das Vertrauen und die Glaubwürdigkeit bei den Stakeholdern. Sie ermöglicht es Organisationen, ihr Engagement für nachhaltige Praktiken zu demonstrieren, was sich positiv auf den Ruf der Marke und die Kundenbindung auswirken kann. </a:t>
            </a:r>
          </a:p>
        </p:txBody>
      </p:sp>
    </p:spTree>
    <p:extLst>
      <p:ext uri="{BB962C8B-B14F-4D97-AF65-F5344CB8AC3E}">
        <p14:creationId xmlns:p14="http://schemas.microsoft.com/office/powerpoint/2010/main" val="21721039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3</a:t>
            </a:fld>
            <a:endParaRPr lang="en-US" sz="1291" dirty="0"/>
          </a:p>
        </p:txBody>
      </p:sp>
      <p:pic>
        <p:nvPicPr>
          <p:cNvPr id="9" name="Picture Placeholder 8" descr="Open book with pen on desk">
            <a:extLst>
              <a:ext uri="{FF2B5EF4-FFF2-40B4-BE49-F238E27FC236}">
                <a16:creationId xmlns:a16="http://schemas.microsoft.com/office/drawing/2014/main" id="{DCEEE026-2768-E834-A29D-A0F708F9FB14}"/>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5787" r="25787"/>
          <a:stretch/>
        </p:blipFill>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556052"/>
            <a:ext cx="6610511" cy="1339859"/>
          </a:xfrm>
        </p:spPr>
        <p:txBody>
          <a:bodyPr/>
          <a:lstStyle/>
          <a:p>
            <a:r>
              <a:rPr lang="en-GB" sz="2800" b="1" dirty="0"/>
              <a:t>GRUNDSÄTZE UND RAHMEN FÜR DIE NACHHALTIGKEITSBERICHTERSTATTUNG</a:t>
            </a:r>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367724" y="2241050"/>
            <a:ext cx="4939670" cy="4271810"/>
          </a:xfrm>
        </p:spPr>
        <p:txBody>
          <a:bodyPr/>
          <a:lstStyle/>
          <a:p>
            <a:pPr algn="just"/>
            <a:r>
              <a:rPr lang="en-GB" sz="1800" dirty="0"/>
              <a:t>In der Nachhaltigkeitsberichterstattung sind wirksame Methoden zur Datenerfassung und -analyse von entscheidender Bedeutung, damit Organisationen ihre Auswirkungen auf Umwelt, Gesellschaft und Unternehmensführung (ESG) genau bewerten können. </a:t>
            </a:r>
          </a:p>
          <a:p>
            <a:pPr algn="just"/>
            <a:endParaRPr lang="en-GB" sz="1050" dirty="0"/>
          </a:p>
          <a:p>
            <a:pPr algn="just"/>
            <a:r>
              <a:rPr lang="en-GB" sz="1800" dirty="0"/>
              <a:t>Dieser Prozess ermöglicht es den Unternehmen, ihre Nachhaltigkeitsleistung transparent zu messen und die Erwartungen der Stakeholder an die Rechenschaftspflicht zu erfüllen.</a:t>
            </a:r>
          </a:p>
          <a:p>
            <a:pPr algn="just"/>
            <a:endParaRPr lang="en-IE" sz="1800" dirty="0"/>
          </a:p>
        </p:txBody>
      </p:sp>
    </p:spTree>
    <p:extLst>
      <p:ext uri="{BB962C8B-B14F-4D97-AF65-F5344CB8AC3E}">
        <p14:creationId xmlns:p14="http://schemas.microsoft.com/office/powerpoint/2010/main" val="4331249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271850"/>
            <a:ext cx="4951851" cy="558105"/>
          </a:xfrm>
        </p:spPr>
        <p:txBody>
          <a:bodyPr/>
          <a:lstStyle/>
          <a:p>
            <a:r>
              <a:rPr lang="en-GB" sz="3200" b="1" dirty="0"/>
              <a:t>ÜBERSICHT ÜBER DIE STANDARDS DER GLOBAL REPORTING INITIATIVE (GRI)</a:t>
            </a:r>
            <a:endParaRPr lang="en-US" sz="32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2114733"/>
            <a:ext cx="4939670" cy="3020592"/>
          </a:xfrm>
        </p:spPr>
        <p:txBody>
          <a:bodyPr/>
          <a:lstStyle/>
          <a:p>
            <a:pPr algn="just"/>
            <a:r>
              <a:rPr lang="en-GB" sz="2000" dirty="0"/>
              <a:t>Die </a:t>
            </a:r>
            <a:r>
              <a:rPr lang="en-GB" sz="2000" dirty="0">
                <a:hlinkClick r:id="rId3"/>
              </a:rPr>
              <a:t>Global Reporting Initiative (GRI</a:t>
            </a:r>
            <a:r>
              <a:rPr lang="en-GB" sz="2000" dirty="0"/>
              <a:t>) bietet einen umfassenden Rahmen für die Nachhaltigkeitsberichterstattung, der von Organisationen auf der ganzen Welt genutzt wird. </a:t>
            </a:r>
          </a:p>
          <a:p>
            <a:pPr algn="just"/>
            <a:endParaRPr lang="en-GB" sz="800" dirty="0"/>
          </a:p>
          <a:p>
            <a:pPr algn="just"/>
            <a:r>
              <a:rPr lang="en-GB" sz="2000" dirty="0"/>
              <a:t>Die GRI-Standards helfen Organisationen, ihre wirtschaftlichen, ökologischen und sozialen Auswirkungen durch ein standardisiertes Berichtsverfahren offenzulegen. </a:t>
            </a:r>
          </a:p>
          <a:p>
            <a:pPr algn="just"/>
            <a:endParaRPr lang="en-GB" sz="800" dirty="0"/>
          </a:p>
          <a:p>
            <a:pPr algn="just"/>
            <a:r>
              <a:rPr lang="en-GB" sz="2000" dirty="0"/>
              <a:t>Diese Standards gewährleisten, dass die Organisationen relevante und vergleichbare Informationen melden, was die Transparenz und die Rechenschaftspflicht erhöht.</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4</a:t>
            </a:fld>
            <a:endParaRPr lang="en-US" sz="1291" dirty="0"/>
          </a:p>
        </p:txBody>
      </p:sp>
      <p:pic>
        <p:nvPicPr>
          <p:cNvPr id="5" name="Picture Placeholder 4" descr="Traffic light trails at night">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l="21447" r="21447"/>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661043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27466" y="336746"/>
            <a:ext cx="5188476" cy="558105"/>
          </a:xfrm>
        </p:spPr>
        <p:txBody>
          <a:bodyPr/>
          <a:lstStyle/>
          <a:p>
            <a:r>
              <a:rPr lang="en-GB" sz="2800" b="1" dirty="0"/>
              <a:t>BEDEUTUNG DER INTEGRIERTEN BERICHTERSTATTUNG</a:t>
            </a:r>
            <a:endParaRPr lang="en-US" sz="2800" dirty="0"/>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39647" y="1525904"/>
            <a:ext cx="4939670" cy="3305818"/>
          </a:xfrm>
        </p:spPr>
        <p:txBody>
          <a:bodyPr/>
          <a:lstStyle/>
          <a:p>
            <a:pPr algn="just"/>
            <a:r>
              <a:rPr lang="en-GB" sz="1800" dirty="0"/>
              <a:t>In der integrierten Berichterstattung werden finanzielle und nichtfinanzielle Informationen in einem einzigen Bericht zusammengefasst, der einen ganzheitlichen Überblick über die Leistung einer Organisation bietet. </a:t>
            </a:r>
          </a:p>
          <a:p>
            <a:pPr algn="just"/>
            <a:endParaRPr lang="en-GB" sz="700" dirty="0"/>
          </a:p>
          <a:p>
            <a:pPr algn="just"/>
            <a:r>
              <a:rPr lang="en-GB" sz="1800" dirty="0"/>
              <a:t>Sie unterstreicht die Verflechtung zwischen finanzieller Leistung und ESG-Faktoren und fördert eine ausgewogenere und fundiertere Bewertung der Wertschöpfung eines Unternehmens. </a:t>
            </a:r>
          </a:p>
          <a:p>
            <a:pPr algn="just"/>
            <a:endParaRPr lang="en-GB" sz="700" dirty="0"/>
          </a:p>
          <a:p>
            <a:pPr algn="just"/>
            <a:r>
              <a:rPr lang="en-GB" sz="1800" dirty="0"/>
              <a:t>Die integrierte Berichterstattung unterstützt die umfassende Offenlegung von Nachhaltigkeitsdaten, indem sie Organisationen dazu ermutigt, zu berücksichtigen, wie sich Nachhaltigkeit auf die finanziellen Ergebnisse auswirkt und vice versa.</a:t>
            </a:r>
            <a:endParaRPr lang="en-US" sz="18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5</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2503462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A217D6-4AA2-CB4D-9D63-D41980307DD7}"/>
              </a:ext>
            </a:extLst>
          </p:cNvPr>
          <p:cNvSpPr>
            <a:spLocks noGrp="1"/>
          </p:cNvSpPr>
          <p:nvPr>
            <p:ph type="body" sz="quarter" idx="30"/>
          </p:nvPr>
        </p:nvSpPr>
        <p:spPr>
          <a:xfrm>
            <a:off x="854280" y="623676"/>
            <a:ext cx="10483431" cy="804265"/>
          </a:xfrm>
        </p:spPr>
        <p:txBody>
          <a:bodyPr/>
          <a:lstStyle/>
          <a:p>
            <a:r>
              <a:rPr lang="en-GB" sz="3200" b="1" dirty="0"/>
              <a:t>METHODEN ZUR ERHEBUNG VON NACHHALTIGKEITSDATEN</a:t>
            </a:r>
            <a:endParaRPr lang="en-GB" sz="3200" dirty="0"/>
          </a:p>
        </p:txBody>
      </p:sp>
      <p:sp>
        <p:nvSpPr>
          <p:cNvPr id="3" name="Text Placeholder 2">
            <a:extLst>
              <a:ext uri="{FF2B5EF4-FFF2-40B4-BE49-F238E27FC236}">
                <a16:creationId xmlns:a16="http://schemas.microsoft.com/office/drawing/2014/main" id="{35AC186C-5DE3-6542-A610-70101C6B0F93}"/>
              </a:ext>
            </a:extLst>
          </p:cNvPr>
          <p:cNvSpPr>
            <a:spLocks noGrp="1"/>
          </p:cNvSpPr>
          <p:nvPr>
            <p:ph type="body" sz="quarter" idx="48"/>
          </p:nvPr>
        </p:nvSpPr>
        <p:spPr>
          <a:xfrm>
            <a:off x="854280" y="1352826"/>
            <a:ext cx="10483429" cy="1977516"/>
          </a:xfrm>
        </p:spPr>
        <p:txBody>
          <a:bodyPr/>
          <a:lstStyle/>
          <a:p>
            <a:pPr algn="just"/>
            <a:r>
              <a:rPr lang="en-GB" sz="2000" dirty="0"/>
              <a:t>Quantitative Daten umfassen numerische Metriken wie Treibhausgasemissionen und Energieverbrauch, die Aufschluss über die Umweltauswirkungen geben. Qualitative Daten hingegen erfassen nicht-numerische Informationen wie die Wahrnehmung der Stakeholder und die Beziehungen zum Gemeinwesen, die wertvolle Einblicke in soziale und Governance-Aspekte liefern.</a:t>
            </a:r>
          </a:p>
          <a:p>
            <a:pPr algn="just"/>
            <a:endParaRPr lang="en-GB" sz="2000" dirty="0"/>
          </a:p>
        </p:txBody>
      </p:sp>
      <p:grpSp>
        <p:nvGrpSpPr>
          <p:cNvPr id="4" name="Group 3">
            <a:extLst>
              <a:ext uri="{FF2B5EF4-FFF2-40B4-BE49-F238E27FC236}">
                <a16:creationId xmlns:a16="http://schemas.microsoft.com/office/drawing/2014/main" id="{FCB89164-B28F-A6F1-278E-34AD438FE0DA}"/>
              </a:ext>
            </a:extLst>
          </p:cNvPr>
          <p:cNvGrpSpPr/>
          <p:nvPr/>
        </p:nvGrpSpPr>
        <p:grpSpPr>
          <a:xfrm>
            <a:off x="1653177" y="3436181"/>
            <a:ext cx="861714" cy="861565"/>
            <a:chOff x="3258209" y="1217582"/>
            <a:chExt cx="4712093" cy="4711281"/>
          </a:xfrm>
          <a:solidFill>
            <a:srgbClr val="0F486D"/>
          </a:solidFill>
        </p:grpSpPr>
        <p:sp>
          <p:nvSpPr>
            <p:cNvPr id="5" name="Freeform 31">
              <a:extLst>
                <a:ext uri="{FF2B5EF4-FFF2-40B4-BE49-F238E27FC236}">
                  <a16:creationId xmlns:a16="http://schemas.microsoft.com/office/drawing/2014/main" id="{FC854CD8-513E-E958-5CE8-ED7997021AF9}"/>
                </a:ext>
              </a:extLst>
            </p:cNvPr>
            <p:cNvSpPr/>
            <p:nvPr/>
          </p:nvSpPr>
          <p:spPr>
            <a:xfrm>
              <a:off x="3687633" y="4742937"/>
              <a:ext cx="759770" cy="759011"/>
            </a:xfrm>
            <a:custGeom>
              <a:avLst/>
              <a:gdLst>
                <a:gd name="connsiteX0" fmla="*/ 650208 w 759770"/>
                <a:gd name="connsiteY0" fmla="*/ 118444 h 759011"/>
                <a:gd name="connsiteX1" fmla="*/ 630221 w 759770"/>
                <a:gd name="connsiteY1" fmla="*/ 141291 h 759011"/>
                <a:gd name="connsiteX2" fmla="*/ 367539 w 759770"/>
                <a:gd name="connsiteY2" fmla="*/ 430688 h 759011"/>
                <a:gd name="connsiteX3" fmla="*/ 193370 w 759770"/>
                <a:gd name="connsiteY3" fmla="*/ 316452 h 759011"/>
                <a:gd name="connsiteX4" fmla="*/ 109616 w 759770"/>
                <a:gd name="connsiteY4" fmla="*/ 442112 h 759011"/>
                <a:gd name="connsiteX5" fmla="*/ 391333 w 759770"/>
                <a:gd name="connsiteY5" fmla="*/ 630601 h 759011"/>
                <a:gd name="connsiteX6" fmla="*/ 730154 w 759770"/>
                <a:gd name="connsiteY6" fmla="*/ 258382 h 759011"/>
                <a:gd name="connsiteX7" fmla="*/ 583585 w 759770"/>
                <a:gd name="connsiteY7" fmla="*/ 699143 h 759011"/>
                <a:gd name="connsiteX8" fmla="*/ 68691 w 759770"/>
                <a:gd name="connsiteY8" fmla="*/ 598235 h 759011"/>
                <a:gd name="connsiteX9" fmla="*/ 139120 w 759770"/>
                <a:gd name="connsiteY9" fmla="*/ 85125 h 759011"/>
                <a:gd name="connsiteX10" fmla="*/ 650208 w 759770"/>
                <a:gd name="connsiteY10" fmla="*/ 118444 h 75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9770" h="759011">
                  <a:moveTo>
                    <a:pt x="650208" y="118444"/>
                  </a:moveTo>
                  <a:cubicBezTo>
                    <a:pt x="642594" y="127963"/>
                    <a:pt x="636883" y="134627"/>
                    <a:pt x="630221" y="141291"/>
                  </a:cubicBezTo>
                  <a:cubicBezTo>
                    <a:pt x="543612" y="236487"/>
                    <a:pt x="457003" y="331684"/>
                    <a:pt x="367539" y="430688"/>
                  </a:cubicBezTo>
                  <a:cubicBezTo>
                    <a:pt x="309482" y="392610"/>
                    <a:pt x="252378" y="355483"/>
                    <a:pt x="193370" y="316452"/>
                  </a:cubicBezTo>
                  <a:cubicBezTo>
                    <a:pt x="164817" y="358339"/>
                    <a:pt x="139120" y="398322"/>
                    <a:pt x="109616" y="442112"/>
                  </a:cubicBezTo>
                  <a:cubicBezTo>
                    <a:pt x="203839" y="504942"/>
                    <a:pt x="296158" y="566820"/>
                    <a:pt x="391333" y="630601"/>
                  </a:cubicBezTo>
                  <a:cubicBezTo>
                    <a:pt x="505542" y="505894"/>
                    <a:pt x="617848" y="382138"/>
                    <a:pt x="730154" y="258382"/>
                  </a:cubicBezTo>
                  <a:cubicBezTo>
                    <a:pt x="804390" y="391658"/>
                    <a:pt x="733009" y="602994"/>
                    <a:pt x="583585" y="699143"/>
                  </a:cubicBezTo>
                  <a:cubicBezTo>
                    <a:pt x="413223" y="808619"/>
                    <a:pt x="185756" y="763877"/>
                    <a:pt x="68691" y="598235"/>
                  </a:cubicBezTo>
                  <a:cubicBezTo>
                    <a:pt x="-45519" y="436400"/>
                    <a:pt x="-14111" y="209832"/>
                    <a:pt x="139120" y="85125"/>
                  </a:cubicBezTo>
                  <a:cubicBezTo>
                    <a:pt x="293303" y="-39583"/>
                    <a:pt x="520770" y="-26255"/>
                    <a:pt x="650208" y="118444"/>
                  </a:cubicBezTo>
                  <a:close/>
                </a:path>
              </a:pathLst>
            </a:custGeom>
            <a:solidFill>
              <a:srgbClr val="F58220"/>
            </a:solidFill>
            <a:ln w="9514" cap="flat">
              <a:noFill/>
              <a:prstDash val="solid"/>
              <a:miter/>
            </a:ln>
          </p:spPr>
          <p:txBody>
            <a:bodyPr rtlCol="0" anchor="ctr"/>
            <a:lstStyle/>
            <a:p>
              <a:endParaRPr lang="en-US"/>
            </a:p>
          </p:txBody>
        </p:sp>
        <p:sp>
          <p:nvSpPr>
            <p:cNvPr id="6" name="Freeform 32">
              <a:extLst>
                <a:ext uri="{FF2B5EF4-FFF2-40B4-BE49-F238E27FC236}">
                  <a16:creationId xmlns:a16="http://schemas.microsoft.com/office/drawing/2014/main" id="{CB193DE5-3163-2B07-0A48-C7FC582F6CD4}"/>
                </a:ext>
              </a:extLst>
            </p:cNvPr>
            <p:cNvSpPr/>
            <p:nvPr/>
          </p:nvSpPr>
          <p:spPr>
            <a:xfrm>
              <a:off x="3686062" y="3374832"/>
              <a:ext cx="759133" cy="758614"/>
            </a:xfrm>
            <a:custGeom>
              <a:avLst/>
              <a:gdLst>
                <a:gd name="connsiteX0" fmla="*/ 651779 w 759133"/>
                <a:gd name="connsiteY0" fmla="*/ 119525 h 758614"/>
                <a:gd name="connsiteX1" fmla="*/ 368159 w 759133"/>
                <a:gd name="connsiteY1" fmla="*/ 430819 h 758614"/>
                <a:gd name="connsiteX2" fmla="*/ 193989 w 759133"/>
                <a:gd name="connsiteY2" fmla="*/ 315631 h 758614"/>
                <a:gd name="connsiteX3" fmla="*/ 110235 w 759133"/>
                <a:gd name="connsiteY3" fmla="*/ 441290 h 758614"/>
                <a:gd name="connsiteX4" fmla="*/ 391952 w 759133"/>
                <a:gd name="connsiteY4" fmla="*/ 629780 h 758614"/>
                <a:gd name="connsiteX5" fmla="*/ 732677 w 759133"/>
                <a:gd name="connsiteY5" fmla="*/ 255657 h 758614"/>
                <a:gd name="connsiteX6" fmla="*/ 558508 w 759133"/>
                <a:gd name="connsiteY6" fmla="*/ 713552 h 758614"/>
                <a:gd name="connsiteX7" fmla="*/ 58841 w 759133"/>
                <a:gd name="connsiteY7" fmla="*/ 581229 h 758614"/>
                <a:gd name="connsiteX8" fmla="*/ 154968 w 759133"/>
                <a:gd name="connsiteY8" fmla="*/ 72879 h 758614"/>
                <a:gd name="connsiteX9" fmla="*/ 651779 w 759133"/>
                <a:gd name="connsiteY9" fmla="*/ 119525 h 75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9133" h="758614">
                  <a:moveTo>
                    <a:pt x="651779" y="119525"/>
                  </a:moveTo>
                  <a:cubicBezTo>
                    <a:pt x="556604" y="224242"/>
                    <a:pt x="463333" y="327054"/>
                    <a:pt x="368159" y="430819"/>
                  </a:cubicBezTo>
                  <a:cubicBezTo>
                    <a:pt x="309150" y="391788"/>
                    <a:pt x="252997" y="354661"/>
                    <a:pt x="193989" y="315631"/>
                  </a:cubicBezTo>
                  <a:cubicBezTo>
                    <a:pt x="165437" y="358469"/>
                    <a:pt x="138788" y="398451"/>
                    <a:pt x="110235" y="441290"/>
                  </a:cubicBezTo>
                  <a:cubicBezTo>
                    <a:pt x="204458" y="504120"/>
                    <a:pt x="295826" y="565046"/>
                    <a:pt x="391952" y="629780"/>
                  </a:cubicBezTo>
                  <a:cubicBezTo>
                    <a:pt x="506162" y="504120"/>
                    <a:pt x="618468" y="380364"/>
                    <a:pt x="732677" y="255657"/>
                  </a:cubicBezTo>
                  <a:cubicBezTo>
                    <a:pt x="805010" y="416539"/>
                    <a:pt x="723160" y="625972"/>
                    <a:pt x="558508" y="713552"/>
                  </a:cubicBezTo>
                  <a:cubicBezTo>
                    <a:pt x="382435" y="807797"/>
                    <a:pt x="165437" y="749727"/>
                    <a:pt x="58841" y="581229"/>
                  </a:cubicBezTo>
                  <a:cubicBezTo>
                    <a:pt x="-47754" y="412731"/>
                    <a:pt x="-5878" y="190923"/>
                    <a:pt x="154968" y="72879"/>
                  </a:cubicBezTo>
                  <a:cubicBezTo>
                    <a:pt x="309150" y="-39453"/>
                    <a:pt x="532811" y="-20414"/>
                    <a:pt x="651779" y="119525"/>
                  </a:cubicBezTo>
                  <a:close/>
                </a:path>
              </a:pathLst>
            </a:custGeom>
            <a:solidFill>
              <a:srgbClr val="F58220"/>
            </a:solidFill>
            <a:ln w="9514" cap="flat">
              <a:noFill/>
              <a:prstDash val="solid"/>
              <a:miter/>
            </a:ln>
          </p:spPr>
          <p:txBody>
            <a:bodyPr rtlCol="0" anchor="ctr"/>
            <a:lstStyle/>
            <a:p>
              <a:endParaRPr lang="en-US"/>
            </a:p>
          </p:txBody>
        </p:sp>
        <p:grpSp>
          <p:nvGrpSpPr>
            <p:cNvPr id="7" name="Group 6">
              <a:extLst>
                <a:ext uri="{FF2B5EF4-FFF2-40B4-BE49-F238E27FC236}">
                  <a16:creationId xmlns:a16="http://schemas.microsoft.com/office/drawing/2014/main" id="{4A1A757D-D879-F099-A773-B7F7AACC909B}"/>
                </a:ext>
              </a:extLst>
            </p:cNvPr>
            <p:cNvGrpSpPr/>
            <p:nvPr/>
          </p:nvGrpSpPr>
          <p:grpSpPr>
            <a:xfrm>
              <a:off x="3258209" y="1217582"/>
              <a:ext cx="4712093" cy="4711281"/>
              <a:chOff x="3258209" y="1217582"/>
              <a:chExt cx="4712093" cy="4711281"/>
            </a:xfrm>
            <a:grpFill/>
          </p:grpSpPr>
          <p:sp>
            <p:nvSpPr>
              <p:cNvPr id="8" name="Freeform 16">
                <a:extLst>
                  <a:ext uri="{FF2B5EF4-FFF2-40B4-BE49-F238E27FC236}">
                    <a16:creationId xmlns:a16="http://schemas.microsoft.com/office/drawing/2014/main" id="{A5042E80-2A18-4852-9F02-7ABA5F4D3E50}"/>
                  </a:ext>
                </a:extLst>
              </p:cNvPr>
              <p:cNvSpPr/>
              <p:nvPr/>
            </p:nvSpPr>
            <p:spPr>
              <a:xfrm>
                <a:off x="3258209" y="1217582"/>
                <a:ext cx="4712093" cy="4711281"/>
              </a:xfrm>
              <a:custGeom>
                <a:avLst/>
                <a:gdLst>
                  <a:gd name="connsiteX0" fmla="*/ 800418 w 4712093"/>
                  <a:gd name="connsiteY0" fmla="*/ 0 h 4711281"/>
                  <a:gd name="connsiteX1" fmla="*/ 3800321 w 4712093"/>
                  <a:gd name="connsiteY1" fmla="*/ 0 h 4711281"/>
                  <a:gd name="connsiteX2" fmla="*/ 3800321 w 4712093"/>
                  <a:gd name="connsiteY2" fmla="*/ 2666458 h 4711281"/>
                  <a:gd name="connsiteX3" fmla="*/ 3805080 w 4712093"/>
                  <a:gd name="connsiteY3" fmla="*/ 2695017 h 4711281"/>
                  <a:gd name="connsiteX4" fmla="*/ 3835536 w 4712093"/>
                  <a:gd name="connsiteY4" fmla="*/ 2666458 h 4711281"/>
                  <a:gd name="connsiteX5" fmla="*/ 4124867 w 4712093"/>
                  <a:gd name="connsiteY5" fmla="*/ 2378012 h 4711281"/>
                  <a:gd name="connsiteX6" fmla="*/ 4702576 w 4712093"/>
                  <a:gd name="connsiteY6" fmla="*/ 2543654 h 4711281"/>
                  <a:gd name="connsiteX7" fmla="*/ 4712094 w 4712093"/>
                  <a:gd name="connsiteY7" fmla="*/ 2568405 h 4711281"/>
                  <a:gd name="connsiteX8" fmla="*/ 4712094 w 4712093"/>
                  <a:gd name="connsiteY8" fmla="*/ 2678834 h 4711281"/>
                  <a:gd name="connsiteX9" fmla="*/ 4540779 w 4712093"/>
                  <a:gd name="connsiteY9" fmla="*/ 2938720 h 4711281"/>
                  <a:gd name="connsiteX10" fmla="*/ 3830777 w 4712093"/>
                  <a:gd name="connsiteY10" fmla="*/ 3646983 h 4711281"/>
                  <a:gd name="connsiteX11" fmla="*/ 3800321 w 4712093"/>
                  <a:gd name="connsiteY11" fmla="*/ 3719333 h 4711281"/>
                  <a:gd name="connsiteX12" fmla="*/ 3801273 w 4712093"/>
                  <a:gd name="connsiteY12" fmla="*/ 4657972 h 4711281"/>
                  <a:gd name="connsiteX13" fmla="*/ 3801273 w 4712093"/>
                  <a:gd name="connsiteY13" fmla="*/ 4711282 h 4711281"/>
                  <a:gd name="connsiteX14" fmla="*/ 952 w 4712093"/>
                  <a:gd name="connsiteY14" fmla="*/ 4711282 h 4711281"/>
                  <a:gd name="connsiteX15" fmla="*/ 952 w 4712093"/>
                  <a:gd name="connsiteY15" fmla="*/ 4663683 h 4711281"/>
                  <a:gd name="connsiteX16" fmla="*/ 0 w 4712093"/>
                  <a:gd name="connsiteY16" fmla="*/ 848202 h 4711281"/>
                  <a:gd name="connsiteX17" fmla="*/ 32359 w 4712093"/>
                  <a:gd name="connsiteY17" fmla="*/ 772997 h 4711281"/>
                  <a:gd name="connsiteX18" fmla="*/ 768059 w 4712093"/>
                  <a:gd name="connsiteY18" fmla="*/ 38079 h 4711281"/>
                  <a:gd name="connsiteX19" fmla="*/ 800418 w 4712093"/>
                  <a:gd name="connsiteY19" fmla="*/ 0 h 4711281"/>
                  <a:gd name="connsiteX20" fmla="*/ 3647090 w 4712093"/>
                  <a:gd name="connsiteY20" fmla="*/ 157074 h 4711281"/>
                  <a:gd name="connsiteX21" fmla="*/ 909869 w 4712093"/>
                  <a:gd name="connsiteY21" fmla="*/ 157074 h 4711281"/>
                  <a:gd name="connsiteX22" fmla="*/ 909869 w 4712093"/>
                  <a:gd name="connsiteY22" fmla="*/ 912936 h 4711281"/>
                  <a:gd name="connsiteX23" fmla="*/ 156086 w 4712093"/>
                  <a:gd name="connsiteY23" fmla="*/ 912936 h 4711281"/>
                  <a:gd name="connsiteX24" fmla="*/ 156086 w 4712093"/>
                  <a:gd name="connsiteY24" fmla="*/ 4557064 h 4711281"/>
                  <a:gd name="connsiteX25" fmla="*/ 3643283 w 4712093"/>
                  <a:gd name="connsiteY25" fmla="*/ 4557064 h 4711281"/>
                  <a:gd name="connsiteX26" fmla="*/ 3643283 w 4712093"/>
                  <a:gd name="connsiteY26" fmla="*/ 3836425 h 4711281"/>
                  <a:gd name="connsiteX27" fmla="*/ 3602358 w 4712093"/>
                  <a:gd name="connsiteY27" fmla="*/ 3875455 h 4711281"/>
                  <a:gd name="connsiteX28" fmla="*/ 3263537 w 4712093"/>
                  <a:gd name="connsiteY28" fmla="*/ 4213403 h 4711281"/>
                  <a:gd name="connsiteX29" fmla="*/ 3186445 w 4712093"/>
                  <a:gd name="connsiteY29" fmla="*/ 4259098 h 4711281"/>
                  <a:gd name="connsiteX30" fmla="*/ 2727704 w 4712093"/>
                  <a:gd name="connsiteY30" fmla="*/ 4393325 h 4711281"/>
                  <a:gd name="connsiteX31" fmla="*/ 2550679 w 4712093"/>
                  <a:gd name="connsiteY31" fmla="*/ 4444731 h 4711281"/>
                  <a:gd name="connsiteX32" fmla="*/ 2563052 w 4712093"/>
                  <a:gd name="connsiteY32" fmla="*/ 4394277 h 4711281"/>
                  <a:gd name="connsiteX33" fmla="*/ 2732462 w 4712093"/>
                  <a:gd name="connsiteY33" fmla="*/ 3802154 h 4711281"/>
                  <a:gd name="connsiteX34" fmla="*/ 2775291 w 4712093"/>
                  <a:gd name="connsiteY34" fmla="*/ 3728852 h 4711281"/>
                  <a:gd name="connsiteX35" fmla="*/ 3610924 w 4712093"/>
                  <a:gd name="connsiteY35" fmla="*/ 2893026 h 4711281"/>
                  <a:gd name="connsiteX36" fmla="*/ 3647090 w 4712093"/>
                  <a:gd name="connsiteY36" fmla="*/ 2804493 h 4711281"/>
                  <a:gd name="connsiteX37" fmla="*/ 3646139 w 4712093"/>
                  <a:gd name="connsiteY37" fmla="*/ 214192 h 4711281"/>
                  <a:gd name="connsiteX38" fmla="*/ 3647090 w 4712093"/>
                  <a:gd name="connsiteY38" fmla="*/ 157074 h 4711281"/>
                  <a:gd name="connsiteX39" fmla="*/ 4010657 w 4712093"/>
                  <a:gd name="connsiteY39" fmla="*/ 2719768 h 4711281"/>
                  <a:gd name="connsiteX40" fmla="*/ 2930426 w 4712093"/>
                  <a:gd name="connsiteY40" fmla="*/ 3800250 h 4711281"/>
                  <a:gd name="connsiteX41" fmla="*/ 2996096 w 4712093"/>
                  <a:gd name="connsiteY41" fmla="*/ 3871647 h 4711281"/>
                  <a:gd name="connsiteX42" fmla="*/ 4079183 w 4712093"/>
                  <a:gd name="connsiteY42" fmla="*/ 2787358 h 4711281"/>
                  <a:gd name="connsiteX43" fmla="*/ 4010657 w 4712093"/>
                  <a:gd name="connsiteY43" fmla="*/ 2719768 h 4711281"/>
                  <a:gd name="connsiteX44" fmla="*/ 3186445 w 4712093"/>
                  <a:gd name="connsiteY44" fmla="*/ 4064897 h 4711281"/>
                  <a:gd name="connsiteX45" fmla="*/ 4265725 w 4712093"/>
                  <a:gd name="connsiteY45" fmla="*/ 2982511 h 4711281"/>
                  <a:gd name="connsiteX46" fmla="*/ 4197199 w 4712093"/>
                  <a:gd name="connsiteY46" fmla="*/ 2913969 h 4711281"/>
                  <a:gd name="connsiteX47" fmla="*/ 3116968 w 4712093"/>
                  <a:gd name="connsiteY47" fmla="*/ 3994451 h 4711281"/>
                  <a:gd name="connsiteX48" fmla="*/ 3186445 w 4712093"/>
                  <a:gd name="connsiteY48" fmla="*/ 4064897 h 4711281"/>
                  <a:gd name="connsiteX49" fmla="*/ 269344 w 4712093"/>
                  <a:gd name="connsiteY49" fmla="*/ 759669 h 4711281"/>
                  <a:gd name="connsiteX50" fmla="*/ 303607 w 4712093"/>
                  <a:gd name="connsiteY50" fmla="*/ 761573 h 4711281"/>
                  <a:gd name="connsiteX51" fmla="*/ 716665 w 4712093"/>
                  <a:gd name="connsiteY51" fmla="*/ 762525 h 4711281"/>
                  <a:gd name="connsiteX52" fmla="*/ 760445 w 4712093"/>
                  <a:gd name="connsiteY52" fmla="*/ 718735 h 4711281"/>
                  <a:gd name="connsiteX53" fmla="*/ 759493 w 4712093"/>
                  <a:gd name="connsiteY53" fmla="*/ 305581 h 4711281"/>
                  <a:gd name="connsiteX54" fmla="*/ 755686 w 4712093"/>
                  <a:gd name="connsiteY54" fmla="*/ 273214 h 4711281"/>
                  <a:gd name="connsiteX55" fmla="*/ 269344 w 4712093"/>
                  <a:gd name="connsiteY55" fmla="*/ 759669 h 4711281"/>
                  <a:gd name="connsiteX56" fmla="*/ 4385645 w 4712093"/>
                  <a:gd name="connsiteY56" fmla="*/ 2868275 h 4711281"/>
                  <a:gd name="connsiteX57" fmla="*/ 4515083 w 4712093"/>
                  <a:gd name="connsiteY57" fmla="*/ 2742615 h 4711281"/>
                  <a:gd name="connsiteX58" fmla="*/ 4503662 w 4712093"/>
                  <a:gd name="connsiteY58" fmla="*/ 2487488 h 4711281"/>
                  <a:gd name="connsiteX59" fmla="*/ 4248594 w 4712093"/>
                  <a:gd name="connsiteY59" fmla="*/ 2471305 h 4711281"/>
                  <a:gd name="connsiteX60" fmla="*/ 4119156 w 4712093"/>
                  <a:gd name="connsiteY60" fmla="*/ 2602676 h 4711281"/>
                  <a:gd name="connsiteX61" fmla="*/ 4385645 w 4712093"/>
                  <a:gd name="connsiteY61" fmla="*/ 2868275 h 4711281"/>
                  <a:gd name="connsiteX62" fmla="*/ 2846672 w 4712093"/>
                  <a:gd name="connsiteY62" fmla="*/ 3952565 h 4711281"/>
                  <a:gd name="connsiteX63" fmla="*/ 2771484 w 4712093"/>
                  <a:gd name="connsiteY63" fmla="*/ 4221019 h 4711281"/>
                  <a:gd name="connsiteX64" fmla="*/ 3037021 w 4712093"/>
                  <a:gd name="connsiteY64" fmla="*/ 4143910 h 4711281"/>
                  <a:gd name="connsiteX65" fmla="*/ 2846672 w 4712093"/>
                  <a:gd name="connsiteY65" fmla="*/ 3952565 h 47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712093" h="4711281">
                    <a:moveTo>
                      <a:pt x="800418" y="0"/>
                    </a:moveTo>
                    <a:cubicBezTo>
                      <a:pt x="1800703" y="0"/>
                      <a:pt x="2800037" y="0"/>
                      <a:pt x="3800321" y="0"/>
                    </a:cubicBezTo>
                    <a:cubicBezTo>
                      <a:pt x="3800321" y="889137"/>
                      <a:pt x="3800321" y="1777321"/>
                      <a:pt x="3800321" y="2666458"/>
                    </a:cubicBezTo>
                    <a:cubicBezTo>
                      <a:pt x="3800321" y="2674074"/>
                      <a:pt x="3803176" y="2682641"/>
                      <a:pt x="3805080" y="2695017"/>
                    </a:cubicBezTo>
                    <a:cubicBezTo>
                      <a:pt x="3818405" y="2682641"/>
                      <a:pt x="3826970" y="2675026"/>
                      <a:pt x="3835536" y="2666458"/>
                    </a:cubicBezTo>
                    <a:cubicBezTo>
                      <a:pt x="3931662" y="2570310"/>
                      <a:pt x="4026837" y="2472257"/>
                      <a:pt x="4124867" y="2378012"/>
                    </a:cubicBezTo>
                    <a:cubicBezTo>
                      <a:pt x="4320926" y="2189523"/>
                      <a:pt x="4635003" y="2279960"/>
                      <a:pt x="4702576" y="2543654"/>
                    </a:cubicBezTo>
                    <a:cubicBezTo>
                      <a:pt x="4704480" y="2552222"/>
                      <a:pt x="4708287" y="2560790"/>
                      <a:pt x="4712094" y="2568405"/>
                    </a:cubicBezTo>
                    <a:cubicBezTo>
                      <a:pt x="4712094" y="2605532"/>
                      <a:pt x="4712094" y="2641707"/>
                      <a:pt x="4712094" y="2678834"/>
                    </a:cubicBezTo>
                    <a:cubicBezTo>
                      <a:pt x="4687349" y="2786406"/>
                      <a:pt x="4615968" y="2863515"/>
                      <a:pt x="4540779" y="2938720"/>
                    </a:cubicBezTo>
                    <a:cubicBezTo>
                      <a:pt x="4302843" y="3173856"/>
                      <a:pt x="4067762" y="3410896"/>
                      <a:pt x="3830777" y="3646983"/>
                    </a:cubicBezTo>
                    <a:cubicBezTo>
                      <a:pt x="3809839" y="3667927"/>
                      <a:pt x="3800321" y="3688870"/>
                      <a:pt x="3800321" y="3719333"/>
                    </a:cubicBezTo>
                    <a:cubicBezTo>
                      <a:pt x="3801273" y="4032530"/>
                      <a:pt x="3801273" y="4344775"/>
                      <a:pt x="3801273" y="4657972"/>
                    </a:cubicBezTo>
                    <a:cubicBezTo>
                      <a:pt x="3801273" y="4676059"/>
                      <a:pt x="3801273" y="4693195"/>
                      <a:pt x="3801273" y="4711282"/>
                    </a:cubicBezTo>
                    <a:cubicBezTo>
                      <a:pt x="2531644" y="4711282"/>
                      <a:pt x="1268677" y="4711282"/>
                      <a:pt x="952" y="4711282"/>
                    </a:cubicBezTo>
                    <a:cubicBezTo>
                      <a:pt x="952" y="4694146"/>
                      <a:pt x="952" y="4678915"/>
                      <a:pt x="952" y="4663683"/>
                    </a:cubicBezTo>
                    <a:cubicBezTo>
                      <a:pt x="952" y="3391856"/>
                      <a:pt x="952" y="2120029"/>
                      <a:pt x="0" y="848202"/>
                    </a:cubicBezTo>
                    <a:cubicBezTo>
                      <a:pt x="0" y="815835"/>
                      <a:pt x="10469" y="794892"/>
                      <a:pt x="32359" y="772997"/>
                    </a:cubicBezTo>
                    <a:cubicBezTo>
                      <a:pt x="277910" y="528341"/>
                      <a:pt x="523460" y="282734"/>
                      <a:pt x="768059" y="38079"/>
                    </a:cubicBezTo>
                    <a:cubicBezTo>
                      <a:pt x="778528" y="25703"/>
                      <a:pt x="788997" y="13328"/>
                      <a:pt x="800418" y="0"/>
                    </a:cubicBezTo>
                    <a:close/>
                    <a:moveTo>
                      <a:pt x="3647090" y="157074"/>
                    </a:moveTo>
                    <a:cubicBezTo>
                      <a:pt x="2730559" y="157074"/>
                      <a:pt x="1822593" y="157074"/>
                      <a:pt x="909869" y="157074"/>
                    </a:cubicBezTo>
                    <a:cubicBezTo>
                      <a:pt x="909869" y="410298"/>
                      <a:pt x="909869" y="659713"/>
                      <a:pt x="909869" y="912936"/>
                    </a:cubicBezTo>
                    <a:cubicBezTo>
                      <a:pt x="655753" y="912936"/>
                      <a:pt x="406395" y="912936"/>
                      <a:pt x="156086" y="912936"/>
                    </a:cubicBezTo>
                    <a:cubicBezTo>
                      <a:pt x="156086" y="2130501"/>
                      <a:pt x="156086" y="3344258"/>
                      <a:pt x="156086" y="4557064"/>
                    </a:cubicBezTo>
                    <a:cubicBezTo>
                      <a:pt x="1321023" y="4557064"/>
                      <a:pt x="2482153" y="4557064"/>
                      <a:pt x="3643283" y="4557064"/>
                    </a:cubicBezTo>
                    <a:cubicBezTo>
                      <a:pt x="3643283" y="4316216"/>
                      <a:pt x="3643283" y="4080128"/>
                      <a:pt x="3643283" y="3836425"/>
                    </a:cubicBezTo>
                    <a:cubicBezTo>
                      <a:pt x="3626152" y="3852608"/>
                      <a:pt x="3613779" y="3864032"/>
                      <a:pt x="3602358" y="3875455"/>
                    </a:cubicBezTo>
                    <a:cubicBezTo>
                      <a:pt x="3489100" y="3987787"/>
                      <a:pt x="3377746" y="4102023"/>
                      <a:pt x="3263537" y="4213403"/>
                    </a:cubicBezTo>
                    <a:cubicBezTo>
                      <a:pt x="3242598" y="4233395"/>
                      <a:pt x="3214997" y="4250530"/>
                      <a:pt x="3186445" y="4259098"/>
                    </a:cubicBezTo>
                    <a:cubicBezTo>
                      <a:pt x="3034166" y="4305744"/>
                      <a:pt x="2880935" y="4348583"/>
                      <a:pt x="2727704" y="4393325"/>
                    </a:cubicBezTo>
                    <a:cubicBezTo>
                      <a:pt x="2670599" y="4409509"/>
                      <a:pt x="2614446" y="4426644"/>
                      <a:pt x="2550679" y="4444731"/>
                    </a:cubicBezTo>
                    <a:cubicBezTo>
                      <a:pt x="2556390" y="4422836"/>
                      <a:pt x="2559245" y="4408556"/>
                      <a:pt x="2563052" y="4394277"/>
                    </a:cubicBezTo>
                    <a:cubicBezTo>
                      <a:pt x="2619205" y="4197220"/>
                      <a:pt x="2674406" y="3999211"/>
                      <a:pt x="2732462" y="3802154"/>
                    </a:cubicBezTo>
                    <a:cubicBezTo>
                      <a:pt x="2740076" y="3775499"/>
                      <a:pt x="2755304" y="3748844"/>
                      <a:pt x="2775291" y="3728852"/>
                    </a:cubicBezTo>
                    <a:cubicBezTo>
                      <a:pt x="3053201" y="3448974"/>
                      <a:pt x="3332062" y="3170048"/>
                      <a:pt x="3610924" y="2893026"/>
                    </a:cubicBezTo>
                    <a:cubicBezTo>
                      <a:pt x="3636621" y="2867323"/>
                      <a:pt x="3647090" y="2841620"/>
                      <a:pt x="3647090" y="2804493"/>
                    </a:cubicBezTo>
                    <a:cubicBezTo>
                      <a:pt x="3646139" y="1941060"/>
                      <a:pt x="3646139" y="1077626"/>
                      <a:pt x="3646139" y="214192"/>
                    </a:cubicBezTo>
                    <a:cubicBezTo>
                      <a:pt x="3647090" y="195153"/>
                      <a:pt x="3647090" y="177066"/>
                      <a:pt x="3647090" y="157074"/>
                    </a:cubicBezTo>
                    <a:close/>
                    <a:moveTo>
                      <a:pt x="4010657" y="2719768"/>
                    </a:moveTo>
                    <a:cubicBezTo>
                      <a:pt x="3648042" y="3082467"/>
                      <a:pt x="3288282" y="3442310"/>
                      <a:pt x="2930426" y="3800250"/>
                    </a:cubicBezTo>
                    <a:cubicBezTo>
                      <a:pt x="2951364" y="3823097"/>
                      <a:pt x="2976109" y="3849752"/>
                      <a:pt x="2996096" y="3871647"/>
                    </a:cubicBezTo>
                    <a:cubicBezTo>
                      <a:pt x="3357759" y="3508948"/>
                      <a:pt x="3718471" y="3149105"/>
                      <a:pt x="4079183" y="2787358"/>
                    </a:cubicBezTo>
                    <a:cubicBezTo>
                      <a:pt x="4058245" y="2767366"/>
                      <a:pt x="4033499" y="2742615"/>
                      <a:pt x="4010657" y="2719768"/>
                    </a:cubicBezTo>
                    <a:close/>
                    <a:moveTo>
                      <a:pt x="3186445" y="4064897"/>
                    </a:moveTo>
                    <a:cubicBezTo>
                      <a:pt x="3549060" y="3701245"/>
                      <a:pt x="3907868" y="3341402"/>
                      <a:pt x="4265725" y="2982511"/>
                    </a:cubicBezTo>
                    <a:cubicBezTo>
                      <a:pt x="4242883" y="2959664"/>
                      <a:pt x="4218138" y="2933960"/>
                      <a:pt x="4197199" y="2913969"/>
                    </a:cubicBezTo>
                    <a:cubicBezTo>
                      <a:pt x="3837439" y="3273813"/>
                      <a:pt x="3477679" y="3633656"/>
                      <a:pt x="3116968" y="3994451"/>
                    </a:cubicBezTo>
                    <a:cubicBezTo>
                      <a:pt x="3137906" y="4016346"/>
                      <a:pt x="3162651" y="4041098"/>
                      <a:pt x="3186445" y="4064897"/>
                    </a:cubicBezTo>
                    <a:close/>
                    <a:moveTo>
                      <a:pt x="269344" y="759669"/>
                    </a:moveTo>
                    <a:cubicBezTo>
                      <a:pt x="283620" y="760621"/>
                      <a:pt x="293138" y="761573"/>
                      <a:pt x="303607" y="761573"/>
                    </a:cubicBezTo>
                    <a:cubicBezTo>
                      <a:pt x="441610" y="761573"/>
                      <a:pt x="579613" y="760621"/>
                      <a:pt x="716665" y="762525"/>
                    </a:cubicBezTo>
                    <a:cubicBezTo>
                      <a:pt x="750927" y="762525"/>
                      <a:pt x="761397" y="752053"/>
                      <a:pt x="760445" y="718735"/>
                    </a:cubicBezTo>
                    <a:cubicBezTo>
                      <a:pt x="758541" y="580700"/>
                      <a:pt x="759493" y="443616"/>
                      <a:pt x="759493" y="305581"/>
                    </a:cubicBezTo>
                    <a:cubicBezTo>
                      <a:pt x="759493" y="295110"/>
                      <a:pt x="756638" y="283686"/>
                      <a:pt x="755686" y="273214"/>
                    </a:cubicBezTo>
                    <a:cubicBezTo>
                      <a:pt x="593889" y="435049"/>
                      <a:pt x="433996" y="594979"/>
                      <a:pt x="269344" y="759669"/>
                    </a:cubicBezTo>
                    <a:close/>
                    <a:moveTo>
                      <a:pt x="4385645" y="2868275"/>
                    </a:moveTo>
                    <a:cubicBezTo>
                      <a:pt x="4427522" y="2828292"/>
                      <a:pt x="4475109" y="2789262"/>
                      <a:pt x="4515083" y="2742615"/>
                    </a:cubicBezTo>
                    <a:cubicBezTo>
                      <a:pt x="4578849" y="2669314"/>
                      <a:pt x="4571235" y="2556030"/>
                      <a:pt x="4503662" y="2487488"/>
                    </a:cubicBezTo>
                    <a:cubicBezTo>
                      <a:pt x="4435136" y="2417995"/>
                      <a:pt x="4323781" y="2408475"/>
                      <a:pt x="4248594" y="2471305"/>
                    </a:cubicBezTo>
                    <a:cubicBezTo>
                      <a:pt x="4201007" y="2511287"/>
                      <a:pt x="4161033" y="2559838"/>
                      <a:pt x="4119156" y="2602676"/>
                    </a:cubicBezTo>
                    <a:cubicBezTo>
                      <a:pt x="4207668" y="2690257"/>
                      <a:pt x="4296181" y="2778790"/>
                      <a:pt x="4385645" y="2868275"/>
                    </a:cubicBezTo>
                    <a:close/>
                    <a:moveTo>
                      <a:pt x="2846672" y="3952565"/>
                    </a:moveTo>
                    <a:cubicBezTo>
                      <a:pt x="2821927" y="4039194"/>
                      <a:pt x="2798133" y="4125823"/>
                      <a:pt x="2771484" y="4221019"/>
                    </a:cubicBezTo>
                    <a:cubicBezTo>
                      <a:pt x="2867610" y="4193412"/>
                      <a:pt x="2954219" y="4167709"/>
                      <a:pt x="3037021" y="4143910"/>
                    </a:cubicBezTo>
                    <a:cubicBezTo>
                      <a:pt x="2973254" y="4080128"/>
                      <a:pt x="2911391" y="4017298"/>
                      <a:pt x="2846672" y="3952565"/>
                    </a:cubicBezTo>
                    <a:close/>
                  </a:path>
                </a:pathLst>
              </a:custGeom>
              <a:grpFill/>
              <a:ln w="9514" cap="flat">
                <a:noFill/>
                <a:prstDash val="solid"/>
                <a:miter/>
              </a:ln>
            </p:spPr>
            <p:txBody>
              <a:bodyPr rtlCol="0" anchor="ctr"/>
              <a:lstStyle/>
              <a:p>
                <a:endParaRPr lang="en-US"/>
              </a:p>
            </p:txBody>
          </p:sp>
          <p:sp>
            <p:nvSpPr>
              <p:cNvPr id="10" name="Freeform 18">
                <a:extLst>
                  <a:ext uri="{FF2B5EF4-FFF2-40B4-BE49-F238E27FC236}">
                    <a16:creationId xmlns:a16="http://schemas.microsoft.com/office/drawing/2014/main" id="{2E45C38D-0ED7-3E9F-6FB2-8B770E16C25C}"/>
                  </a:ext>
                </a:extLst>
              </p:cNvPr>
              <p:cNvSpPr/>
              <p:nvPr/>
            </p:nvSpPr>
            <p:spPr>
              <a:xfrm>
                <a:off x="4321547" y="1521788"/>
                <a:ext cx="2432424" cy="1369773"/>
              </a:xfrm>
              <a:custGeom>
                <a:avLst/>
                <a:gdLst>
                  <a:gd name="connsiteX0" fmla="*/ 1217997 w 2432424"/>
                  <a:gd name="connsiteY0" fmla="*/ 423 h 1369773"/>
                  <a:gd name="connsiteX1" fmla="*/ 2023174 w 2432424"/>
                  <a:gd name="connsiteY1" fmla="*/ 423 h 1369773"/>
                  <a:gd name="connsiteX2" fmla="*/ 2432424 w 2432424"/>
                  <a:gd name="connsiteY2" fmla="*/ 412625 h 1369773"/>
                  <a:gd name="connsiteX3" fmla="*/ 2432424 w 2432424"/>
                  <a:gd name="connsiteY3" fmla="*/ 964765 h 1369773"/>
                  <a:gd name="connsiteX4" fmla="*/ 2028884 w 2432424"/>
                  <a:gd name="connsiteY4" fmla="*/ 1369351 h 1369773"/>
                  <a:gd name="connsiteX5" fmla="*/ 400447 w 2432424"/>
                  <a:gd name="connsiteY5" fmla="*/ 1369351 h 1369773"/>
                  <a:gd name="connsiteX6" fmla="*/ 714 w 2432424"/>
                  <a:gd name="connsiteY6" fmla="*/ 970477 h 1369773"/>
                  <a:gd name="connsiteX7" fmla="*/ 714 w 2432424"/>
                  <a:gd name="connsiteY7" fmla="*/ 395489 h 1369773"/>
                  <a:gd name="connsiteX8" fmla="*/ 398544 w 2432424"/>
                  <a:gd name="connsiteY8" fmla="*/ 423 h 1369773"/>
                  <a:gd name="connsiteX9" fmla="*/ 1217997 w 2432424"/>
                  <a:gd name="connsiteY9" fmla="*/ 423 h 1369773"/>
                  <a:gd name="connsiteX10" fmla="*/ 1215142 w 2432424"/>
                  <a:gd name="connsiteY10" fmla="*/ 1216084 h 1369773"/>
                  <a:gd name="connsiteX11" fmla="*/ 2033643 w 2432424"/>
                  <a:gd name="connsiteY11" fmla="*/ 1216084 h 1369773"/>
                  <a:gd name="connsiteX12" fmla="*/ 2279194 w 2432424"/>
                  <a:gd name="connsiteY12" fmla="*/ 974285 h 1369773"/>
                  <a:gd name="connsiteX13" fmla="*/ 2279194 w 2432424"/>
                  <a:gd name="connsiteY13" fmla="*/ 394537 h 1369773"/>
                  <a:gd name="connsiteX14" fmla="*/ 2038402 w 2432424"/>
                  <a:gd name="connsiteY14" fmla="*/ 152738 h 1369773"/>
                  <a:gd name="connsiteX15" fmla="*/ 396640 w 2432424"/>
                  <a:gd name="connsiteY15" fmla="*/ 152738 h 1369773"/>
                  <a:gd name="connsiteX16" fmla="*/ 152041 w 2432424"/>
                  <a:gd name="connsiteY16" fmla="*/ 401201 h 1369773"/>
                  <a:gd name="connsiteX17" fmla="*/ 152041 w 2432424"/>
                  <a:gd name="connsiteY17" fmla="*/ 966669 h 1369773"/>
                  <a:gd name="connsiteX18" fmla="*/ 401399 w 2432424"/>
                  <a:gd name="connsiteY18" fmla="*/ 1215132 h 1369773"/>
                  <a:gd name="connsiteX19" fmla="*/ 1215142 w 2432424"/>
                  <a:gd name="connsiteY19" fmla="*/ 1216084 h 136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2424" h="1369773">
                    <a:moveTo>
                      <a:pt x="1217997" y="423"/>
                    </a:moveTo>
                    <a:cubicBezTo>
                      <a:pt x="1486389" y="423"/>
                      <a:pt x="1754782" y="423"/>
                      <a:pt x="2023174" y="423"/>
                    </a:cubicBezTo>
                    <a:cubicBezTo>
                      <a:pt x="2274435" y="423"/>
                      <a:pt x="2432424" y="160353"/>
                      <a:pt x="2432424" y="412625"/>
                    </a:cubicBezTo>
                    <a:cubicBezTo>
                      <a:pt x="2432424" y="596354"/>
                      <a:pt x="2432424" y="781036"/>
                      <a:pt x="2432424" y="964765"/>
                    </a:cubicBezTo>
                    <a:cubicBezTo>
                      <a:pt x="2432424" y="1207517"/>
                      <a:pt x="2270628" y="1369351"/>
                      <a:pt x="2028884" y="1369351"/>
                    </a:cubicBezTo>
                    <a:cubicBezTo>
                      <a:pt x="1486389" y="1369351"/>
                      <a:pt x="942942" y="1370303"/>
                      <a:pt x="400447" y="1369351"/>
                    </a:cubicBezTo>
                    <a:cubicBezTo>
                      <a:pt x="162511" y="1369351"/>
                      <a:pt x="2617" y="1208469"/>
                      <a:pt x="714" y="970477"/>
                    </a:cubicBezTo>
                    <a:cubicBezTo>
                      <a:pt x="-238" y="779132"/>
                      <a:pt x="-238" y="586834"/>
                      <a:pt x="714" y="395489"/>
                    </a:cubicBezTo>
                    <a:cubicBezTo>
                      <a:pt x="2617" y="160353"/>
                      <a:pt x="163462" y="1375"/>
                      <a:pt x="398544" y="423"/>
                    </a:cubicBezTo>
                    <a:cubicBezTo>
                      <a:pt x="671695" y="-529"/>
                      <a:pt x="944846" y="423"/>
                      <a:pt x="1217997" y="423"/>
                    </a:cubicBezTo>
                    <a:close/>
                    <a:moveTo>
                      <a:pt x="1215142" y="1216084"/>
                    </a:moveTo>
                    <a:cubicBezTo>
                      <a:pt x="1488293" y="1216084"/>
                      <a:pt x="1760492" y="1216084"/>
                      <a:pt x="2033643" y="1216084"/>
                    </a:cubicBezTo>
                    <a:cubicBezTo>
                      <a:pt x="2184971" y="1216084"/>
                      <a:pt x="2279194" y="1124696"/>
                      <a:pt x="2279194" y="974285"/>
                    </a:cubicBezTo>
                    <a:cubicBezTo>
                      <a:pt x="2280145" y="781036"/>
                      <a:pt x="2280145" y="587786"/>
                      <a:pt x="2279194" y="394537"/>
                    </a:cubicBezTo>
                    <a:cubicBezTo>
                      <a:pt x="2278242" y="246030"/>
                      <a:pt x="2186874" y="152738"/>
                      <a:pt x="2038402" y="152738"/>
                    </a:cubicBezTo>
                    <a:cubicBezTo>
                      <a:pt x="1491148" y="151786"/>
                      <a:pt x="943894" y="151786"/>
                      <a:pt x="396640" y="152738"/>
                    </a:cubicBezTo>
                    <a:cubicBezTo>
                      <a:pt x="243409" y="152738"/>
                      <a:pt x="152041" y="247934"/>
                      <a:pt x="152041" y="401201"/>
                    </a:cubicBezTo>
                    <a:cubicBezTo>
                      <a:pt x="152041" y="589690"/>
                      <a:pt x="152041" y="778180"/>
                      <a:pt x="152041" y="966669"/>
                    </a:cubicBezTo>
                    <a:cubicBezTo>
                      <a:pt x="152041" y="1121840"/>
                      <a:pt x="246264" y="1215132"/>
                      <a:pt x="401399" y="1215132"/>
                    </a:cubicBezTo>
                    <a:cubicBezTo>
                      <a:pt x="672646" y="1216084"/>
                      <a:pt x="943894" y="1216084"/>
                      <a:pt x="1215142" y="1216084"/>
                    </a:cubicBezTo>
                    <a:close/>
                  </a:path>
                </a:pathLst>
              </a:custGeom>
              <a:grpFill/>
              <a:ln w="9514" cap="flat">
                <a:noFill/>
                <a:prstDash val="solid"/>
                <a:miter/>
              </a:ln>
            </p:spPr>
            <p:txBody>
              <a:bodyPr rtlCol="0" anchor="ctr"/>
              <a:lstStyle/>
              <a:p>
                <a:endParaRPr lang="en-US"/>
              </a:p>
            </p:txBody>
          </p:sp>
          <p:sp>
            <p:nvSpPr>
              <p:cNvPr id="11" name="Freeform 19">
                <a:extLst>
                  <a:ext uri="{FF2B5EF4-FFF2-40B4-BE49-F238E27FC236}">
                    <a16:creationId xmlns:a16="http://schemas.microsoft.com/office/drawing/2014/main" id="{C629D317-641B-892A-312F-008D8A3AC317}"/>
                  </a:ext>
                </a:extLst>
              </p:cNvPr>
              <p:cNvSpPr/>
              <p:nvPr/>
            </p:nvSpPr>
            <p:spPr>
              <a:xfrm>
                <a:off x="3564070" y="4360023"/>
                <a:ext cx="1346369" cy="1271701"/>
              </a:xfrm>
              <a:custGeom>
                <a:avLst/>
                <a:gdLst>
                  <a:gd name="connsiteX0" fmla="*/ 907615 w 1346369"/>
                  <a:gd name="connsiteY0" fmla="*/ 357939 h 1271701"/>
                  <a:gd name="connsiteX1" fmla="*/ 1234063 w 1346369"/>
                  <a:gd name="connsiteY1" fmla="*/ 0 h 1271701"/>
                  <a:gd name="connsiteX2" fmla="*/ 1346369 w 1346369"/>
                  <a:gd name="connsiteY2" fmla="*/ 101861 h 1271701"/>
                  <a:gd name="connsiteX3" fmla="*/ 1129371 w 1346369"/>
                  <a:gd name="connsiteY3" fmla="*/ 341756 h 1271701"/>
                  <a:gd name="connsiteX4" fmla="*/ 1110336 w 1346369"/>
                  <a:gd name="connsiteY4" fmla="*/ 361747 h 1271701"/>
                  <a:gd name="connsiteX5" fmla="*/ 1016114 w 1346369"/>
                  <a:gd name="connsiteY5" fmla="*/ 472175 h 1271701"/>
                  <a:gd name="connsiteX6" fmla="*/ 1045618 w 1346369"/>
                  <a:gd name="connsiteY6" fmla="*/ 606403 h 1271701"/>
                  <a:gd name="connsiteX7" fmla="*/ 857172 w 1346369"/>
                  <a:gd name="connsiteY7" fmla="*/ 1151879 h 1271701"/>
                  <a:gd name="connsiteX8" fmla="*/ 280414 w 1346369"/>
                  <a:gd name="connsiteY8" fmla="*/ 1202333 h 1271701"/>
                  <a:gd name="connsiteX9" fmla="*/ 1552 w 1346369"/>
                  <a:gd name="connsiteY9" fmla="*/ 697792 h 1271701"/>
                  <a:gd name="connsiteX10" fmla="*/ 323243 w 1346369"/>
                  <a:gd name="connsiteY10" fmla="*/ 247511 h 1271701"/>
                  <a:gd name="connsiteX11" fmla="*/ 871448 w 1346369"/>
                  <a:gd name="connsiteY11" fmla="*/ 327477 h 1271701"/>
                  <a:gd name="connsiteX12" fmla="*/ 907615 w 1346369"/>
                  <a:gd name="connsiteY12" fmla="*/ 357939 h 1271701"/>
                  <a:gd name="connsiteX13" fmla="*/ 801019 w 1346369"/>
                  <a:gd name="connsiteY13" fmla="*/ 474079 h 1271701"/>
                  <a:gd name="connsiteX14" fmla="*/ 290883 w 1346369"/>
                  <a:gd name="connsiteY14" fmla="*/ 439809 h 1271701"/>
                  <a:gd name="connsiteX15" fmla="*/ 220454 w 1346369"/>
                  <a:gd name="connsiteY15" fmla="*/ 952918 h 1271701"/>
                  <a:gd name="connsiteX16" fmla="*/ 735348 w 1346369"/>
                  <a:gd name="connsiteY16" fmla="*/ 1053827 h 1271701"/>
                  <a:gd name="connsiteX17" fmla="*/ 881917 w 1346369"/>
                  <a:gd name="connsiteY17" fmla="*/ 613067 h 1271701"/>
                  <a:gd name="connsiteX18" fmla="*/ 543096 w 1346369"/>
                  <a:gd name="connsiteY18" fmla="*/ 985285 h 1271701"/>
                  <a:gd name="connsiteX19" fmla="*/ 261379 w 1346369"/>
                  <a:gd name="connsiteY19" fmla="*/ 796796 h 1271701"/>
                  <a:gd name="connsiteX20" fmla="*/ 345133 w 1346369"/>
                  <a:gd name="connsiteY20" fmla="*/ 671136 h 1271701"/>
                  <a:gd name="connsiteX21" fmla="*/ 519302 w 1346369"/>
                  <a:gd name="connsiteY21" fmla="*/ 785372 h 1271701"/>
                  <a:gd name="connsiteX22" fmla="*/ 781984 w 1346369"/>
                  <a:gd name="connsiteY22" fmla="*/ 495975 h 1271701"/>
                  <a:gd name="connsiteX23" fmla="*/ 801019 w 1346369"/>
                  <a:gd name="connsiteY23" fmla="*/ 474079 h 127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6369" h="1271701">
                    <a:moveTo>
                      <a:pt x="907615" y="357939"/>
                    </a:moveTo>
                    <a:cubicBezTo>
                      <a:pt x="1016114" y="238944"/>
                      <a:pt x="1122709" y="121852"/>
                      <a:pt x="1234063" y="0"/>
                    </a:cubicBezTo>
                    <a:cubicBezTo>
                      <a:pt x="1271182" y="34271"/>
                      <a:pt x="1307348" y="66638"/>
                      <a:pt x="1346369" y="101861"/>
                    </a:cubicBezTo>
                    <a:cubicBezTo>
                      <a:pt x="1273085" y="182778"/>
                      <a:pt x="1200752" y="262743"/>
                      <a:pt x="1129371" y="341756"/>
                    </a:cubicBezTo>
                    <a:cubicBezTo>
                      <a:pt x="1123661" y="348420"/>
                      <a:pt x="1116999" y="355084"/>
                      <a:pt x="1110336" y="361747"/>
                    </a:cubicBezTo>
                    <a:cubicBezTo>
                      <a:pt x="1077025" y="397922"/>
                      <a:pt x="1028486" y="429337"/>
                      <a:pt x="1016114" y="472175"/>
                    </a:cubicBezTo>
                    <a:cubicBezTo>
                      <a:pt x="1005644" y="511206"/>
                      <a:pt x="1036100" y="560708"/>
                      <a:pt x="1045618" y="606403"/>
                    </a:cubicBezTo>
                    <a:cubicBezTo>
                      <a:pt x="1092253" y="826307"/>
                      <a:pt x="1033245" y="1012892"/>
                      <a:pt x="857172" y="1151879"/>
                    </a:cubicBezTo>
                    <a:cubicBezTo>
                      <a:pt x="679196" y="1291819"/>
                      <a:pt x="479329" y="1309906"/>
                      <a:pt x="280414" y="1202333"/>
                    </a:cubicBezTo>
                    <a:cubicBezTo>
                      <a:pt x="83403" y="1095713"/>
                      <a:pt x="-13675" y="921504"/>
                      <a:pt x="1552" y="697792"/>
                    </a:cubicBezTo>
                    <a:cubicBezTo>
                      <a:pt x="15829" y="486455"/>
                      <a:pt x="127183" y="331284"/>
                      <a:pt x="323243" y="247511"/>
                    </a:cubicBezTo>
                    <a:cubicBezTo>
                      <a:pt x="518351" y="163738"/>
                      <a:pt x="703941" y="195153"/>
                      <a:pt x="871448" y="327477"/>
                    </a:cubicBezTo>
                    <a:cubicBezTo>
                      <a:pt x="881917" y="336044"/>
                      <a:pt x="893338" y="345564"/>
                      <a:pt x="907615" y="357939"/>
                    </a:cubicBezTo>
                    <a:close/>
                    <a:moveTo>
                      <a:pt x="801019" y="474079"/>
                    </a:moveTo>
                    <a:cubicBezTo>
                      <a:pt x="671582" y="329380"/>
                      <a:pt x="444114" y="316053"/>
                      <a:pt x="290883" y="439809"/>
                    </a:cubicBezTo>
                    <a:cubicBezTo>
                      <a:pt x="136700" y="564516"/>
                      <a:pt x="105293" y="791084"/>
                      <a:pt x="220454" y="952918"/>
                    </a:cubicBezTo>
                    <a:cubicBezTo>
                      <a:pt x="337519" y="1118561"/>
                      <a:pt x="564986" y="1163303"/>
                      <a:pt x="735348" y="1053827"/>
                    </a:cubicBezTo>
                    <a:cubicBezTo>
                      <a:pt x="884773" y="957678"/>
                      <a:pt x="956154" y="746342"/>
                      <a:pt x="881917" y="613067"/>
                    </a:cubicBezTo>
                    <a:cubicBezTo>
                      <a:pt x="768660" y="736822"/>
                      <a:pt x="657305" y="859626"/>
                      <a:pt x="543096" y="985285"/>
                    </a:cubicBezTo>
                    <a:cubicBezTo>
                      <a:pt x="447921" y="921504"/>
                      <a:pt x="355602" y="859626"/>
                      <a:pt x="261379" y="796796"/>
                    </a:cubicBezTo>
                    <a:cubicBezTo>
                      <a:pt x="290883" y="753006"/>
                      <a:pt x="316580" y="713975"/>
                      <a:pt x="345133" y="671136"/>
                    </a:cubicBezTo>
                    <a:cubicBezTo>
                      <a:pt x="405093" y="710167"/>
                      <a:pt x="462197" y="747294"/>
                      <a:pt x="519302" y="785372"/>
                    </a:cubicBezTo>
                    <a:cubicBezTo>
                      <a:pt x="608766" y="687320"/>
                      <a:pt x="695375" y="592123"/>
                      <a:pt x="781984" y="495975"/>
                    </a:cubicBezTo>
                    <a:cubicBezTo>
                      <a:pt x="786743" y="490263"/>
                      <a:pt x="792453" y="483599"/>
                      <a:pt x="801019" y="474079"/>
                    </a:cubicBezTo>
                    <a:close/>
                  </a:path>
                </a:pathLst>
              </a:custGeom>
              <a:grpFill/>
              <a:ln w="9514" cap="flat">
                <a:noFill/>
                <a:prstDash val="solid"/>
                <a:miter/>
              </a:ln>
            </p:spPr>
            <p:txBody>
              <a:bodyPr rtlCol="0" anchor="ctr"/>
              <a:lstStyle/>
              <a:p>
                <a:endParaRPr lang="en-US"/>
              </a:p>
            </p:txBody>
          </p:sp>
          <p:sp>
            <p:nvSpPr>
              <p:cNvPr id="12" name="Freeform 20">
                <a:extLst>
                  <a:ext uri="{FF2B5EF4-FFF2-40B4-BE49-F238E27FC236}">
                    <a16:creationId xmlns:a16="http://schemas.microsoft.com/office/drawing/2014/main" id="{877837B5-7F88-5F53-095C-D47832ED714C}"/>
                  </a:ext>
                </a:extLst>
              </p:cNvPr>
              <p:cNvSpPr/>
              <p:nvPr/>
            </p:nvSpPr>
            <p:spPr>
              <a:xfrm>
                <a:off x="3563837" y="2991095"/>
                <a:ext cx="1345650" cy="1268459"/>
              </a:xfrm>
              <a:custGeom>
                <a:avLst/>
                <a:gdLst>
                  <a:gd name="connsiteX0" fmla="*/ 1233345 w 1345650"/>
                  <a:gd name="connsiteY0" fmla="*/ 0 h 1268459"/>
                  <a:gd name="connsiteX1" fmla="*/ 1345651 w 1345650"/>
                  <a:gd name="connsiteY1" fmla="*/ 101861 h 1268459"/>
                  <a:gd name="connsiteX2" fmla="*/ 1177192 w 1345650"/>
                  <a:gd name="connsiteY2" fmla="*/ 288446 h 1268459"/>
                  <a:gd name="connsiteX3" fmla="*/ 1046802 w 1345650"/>
                  <a:gd name="connsiteY3" fmla="*/ 430289 h 1268459"/>
                  <a:gd name="connsiteX4" fmla="*/ 1023961 w 1345650"/>
                  <a:gd name="connsiteY4" fmla="*/ 543573 h 1268459"/>
                  <a:gd name="connsiteX5" fmla="*/ 913558 w 1345650"/>
                  <a:gd name="connsiteY5" fmla="*/ 1100473 h 1268459"/>
                  <a:gd name="connsiteX6" fmla="*/ 371063 w 1345650"/>
                  <a:gd name="connsiteY6" fmla="*/ 1240412 h 1268459"/>
                  <a:gd name="connsiteX7" fmla="*/ 7496 w 1345650"/>
                  <a:gd name="connsiteY7" fmla="*/ 818691 h 1268459"/>
                  <a:gd name="connsiteX8" fmla="*/ 278743 w 1345650"/>
                  <a:gd name="connsiteY8" fmla="*/ 266551 h 1268459"/>
                  <a:gd name="connsiteX9" fmla="*/ 882150 w 1345650"/>
                  <a:gd name="connsiteY9" fmla="*/ 336996 h 1268459"/>
                  <a:gd name="connsiteX10" fmla="*/ 907848 w 1345650"/>
                  <a:gd name="connsiteY10" fmla="*/ 357939 h 1268459"/>
                  <a:gd name="connsiteX11" fmla="*/ 1233345 w 1345650"/>
                  <a:gd name="connsiteY11" fmla="*/ 0 h 1268459"/>
                  <a:gd name="connsiteX12" fmla="*/ 801252 w 1345650"/>
                  <a:gd name="connsiteY12" fmla="*/ 475983 h 1268459"/>
                  <a:gd name="connsiteX13" fmla="*/ 305392 w 1345650"/>
                  <a:gd name="connsiteY13" fmla="*/ 429337 h 1268459"/>
                  <a:gd name="connsiteX14" fmla="*/ 209266 w 1345650"/>
                  <a:gd name="connsiteY14" fmla="*/ 937687 h 1268459"/>
                  <a:gd name="connsiteX15" fmla="*/ 708933 w 1345650"/>
                  <a:gd name="connsiteY15" fmla="*/ 1070010 h 1268459"/>
                  <a:gd name="connsiteX16" fmla="*/ 883102 w 1345650"/>
                  <a:gd name="connsiteY16" fmla="*/ 612114 h 1268459"/>
                  <a:gd name="connsiteX17" fmla="*/ 542377 w 1345650"/>
                  <a:gd name="connsiteY17" fmla="*/ 986237 h 1268459"/>
                  <a:gd name="connsiteX18" fmla="*/ 260660 w 1345650"/>
                  <a:gd name="connsiteY18" fmla="*/ 797748 h 1268459"/>
                  <a:gd name="connsiteX19" fmla="*/ 344414 w 1345650"/>
                  <a:gd name="connsiteY19" fmla="*/ 672088 h 1268459"/>
                  <a:gd name="connsiteX20" fmla="*/ 518584 w 1345650"/>
                  <a:gd name="connsiteY20" fmla="*/ 787276 h 1268459"/>
                  <a:gd name="connsiteX21" fmla="*/ 801252 w 1345650"/>
                  <a:gd name="connsiteY21" fmla="*/ 475983 h 126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5650" h="1268459">
                    <a:moveTo>
                      <a:pt x="1233345" y="0"/>
                    </a:moveTo>
                    <a:cubicBezTo>
                      <a:pt x="1271415" y="34271"/>
                      <a:pt x="1306629" y="66638"/>
                      <a:pt x="1345651" y="101861"/>
                    </a:cubicBezTo>
                    <a:cubicBezTo>
                      <a:pt x="1287594" y="165642"/>
                      <a:pt x="1232393" y="226568"/>
                      <a:pt x="1177192" y="288446"/>
                    </a:cubicBezTo>
                    <a:cubicBezTo>
                      <a:pt x="1134363" y="336044"/>
                      <a:pt x="1092486" y="385546"/>
                      <a:pt x="1046802" y="430289"/>
                    </a:cubicBezTo>
                    <a:cubicBezTo>
                      <a:pt x="1010636" y="464559"/>
                      <a:pt x="1004926" y="492167"/>
                      <a:pt x="1023961" y="543573"/>
                    </a:cubicBezTo>
                    <a:cubicBezTo>
                      <a:pt x="1102004" y="750149"/>
                      <a:pt x="1065837" y="940543"/>
                      <a:pt x="913558" y="1100473"/>
                    </a:cubicBezTo>
                    <a:cubicBezTo>
                      <a:pt x="764134" y="1257548"/>
                      <a:pt x="576640" y="1305146"/>
                      <a:pt x="371063" y="1240412"/>
                    </a:cubicBezTo>
                    <a:cubicBezTo>
                      <a:pt x="167389" y="1175679"/>
                      <a:pt x="42711" y="1030980"/>
                      <a:pt x="7496" y="818691"/>
                    </a:cubicBezTo>
                    <a:cubicBezTo>
                      <a:pt x="-30574" y="591171"/>
                      <a:pt x="78877" y="375075"/>
                      <a:pt x="278743" y="266551"/>
                    </a:cubicBezTo>
                    <a:cubicBezTo>
                      <a:pt x="473851" y="160882"/>
                      <a:pt x="710836" y="187538"/>
                      <a:pt x="882150" y="336996"/>
                    </a:cubicBezTo>
                    <a:cubicBezTo>
                      <a:pt x="888813" y="342708"/>
                      <a:pt x="896427" y="348420"/>
                      <a:pt x="907848" y="357939"/>
                    </a:cubicBezTo>
                    <a:cubicBezTo>
                      <a:pt x="1015395" y="239896"/>
                      <a:pt x="1123894" y="121852"/>
                      <a:pt x="1233345" y="0"/>
                    </a:cubicBezTo>
                    <a:close/>
                    <a:moveTo>
                      <a:pt x="801252" y="475983"/>
                    </a:moveTo>
                    <a:cubicBezTo>
                      <a:pt x="682284" y="336044"/>
                      <a:pt x="458624" y="317005"/>
                      <a:pt x="305392" y="429337"/>
                    </a:cubicBezTo>
                    <a:cubicBezTo>
                      <a:pt x="144547" y="548333"/>
                      <a:pt x="102670" y="769189"/>
                      <a:pt x="209266" y="937687"/>
                    </a:cubicBezTo>
                    <a:cubicBezTo>
                      <a:pt x="315862" y="1106185"/>
                      <a:pt x="533811" y="1164255"/>
                      <a:pt x="708933" y="1070010"/>
                    </a:cubicBezTo>
                    <a:cubicBezTo>
                      <a:pt x="873585" y="982429"/>
                      <a:pt x="954483" y="772997"/>
                      <a:pt x="883102" y="612114"/>
                    </a:cubicBezTo>
                    <a:cubicBezTo>
                      <a:pt x="768893" y="737774"/>
                      <a:pt x="656587" y="861530"/>
                      <a:pt x="542377" y="986237"/>
                    </a:cubicBezTo>
                    <a:cubicBezTo>
                      <a:pt x="446251" y="922455"/>
                      <a:pt x="354883" y="861530"/>
                      <a:pt x="260660" y="797748"/>
                    </a:cubicBezTo>
                    <a:cubicBezTo>
                      <a:pt x="289213" y="754909"/>
                      <a:pt x="315862" y="714927"/>
                      <a:pt x="344414" y="672088"/>
                    </a:cubicBezTo>
                    <a:cubicBezTo>
                      <a:pt x="403422" y="711119"/>
                      <a:pt x="459575" y="748246"/>
                      <a:pt x="518584" y="787276"/>
                    </a:cubicBezTo>
                    <a:cubicBezTo>
                      <a:pt x="612806" y="683512"/>
                      <a:pt x="706077" y="580700"/>
                      <a:pt x="801252" y="475983"/>
                    </a:cubicBezTo>
                    <a:close/>
                  </a:path>
                </a:pathLst>
              </a:custGeom>
              <a:grpFill/>
              <a:ln w="9514" cap="flat">
                <a:noFill/>
                <a:prstDash val="solid"/>
                <a:miter/>
              </a:ln>
            </p:spPr>
            <p:txBody>
              <a:bodyPr rtlCol="0" anchor="ctr"/>
              <a:lstStyle/>
              <a:p>
                <a:endParaRPr lang="en-US"/>
              </a:p>
            </p:txBody>
          </p:sp>
          <p:sp>
            <p:nvSpPr>
              <p:cNvPr id="13" name="Freeform 21">
                <a:extLst>
                  <a:ext uri="{FF2B5EF4-FFF2-40B4-BE49-F238E27FC236}">
                    <a16:creationId xmlns:a16="http://schemas.microsoft.com/office/drawing/2014/main" id="{1012D40E-25F5-4B8D-0F87-EC507266E1EA}"/>
                  </a:ext>
                </a:extLst>
              </p:cNvPr>
              <p:cNvSpPr/>
              <p:nvPr/>
            </p:nvSpPr>
            <p:spPr>
              <a:xfrm>
                <a:off x="4932330" y="3349034"/>
                <a:ext cx="1818786" cy="146602"/>
              </a:xfrm>
              <a:custGeom>
                <a:avLst/>
                <a:gdLst>
                  <a:gd name="connsiteX0" fmla="*/ 0 w 1818786"/>
                  <a:gd name="connsiteY0" fmla="*/ 146603 h 146602"/>
                  <a:gd name="connsiteX1" fmla="*/ 0 w 1818786"/>
                  <a:gd name="connsiteY1" fmla="*/ 0 h 146602"/>
                  <a:gd name="connsiteX2" fmla="*/ 1818786 w 1818786"/>
                  <a:gd name="connsiteY2" fmla="*/ 0 h 146602"/>
                  <a:gd name="connsiteX3" fmla="*/ 1818786 w 1818786"/>
                  <a:gd name="connsiteY3" fmla="*/ 146603 h 146602"/>
                  <a:gd name="connsiteX4" fmla="*/ 0 w 1818786"/>
                  <a:gd name="connsiteY4" fmla="*/ 146603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8786" h="146602">
                    <a:moveTo>
                      <a:pt x="0" y="146603"/>
                    </a:moveTo>
                    <a:cubicBezTo>
                      <a:pt x="0" y="97100"/>
                      <a:pt x="0" y="50454"/>
                      <a:pt x="0" y="0"/>
                    </a:cubicBezTo>
                    <a:cubicBezTo>
                      <a:pt x="606262" y="0"/>
                      <a:pt x="1211573" y="0"/>
                      <a:pt x="1818786" y="0"/>
                    </a:cubicBezTo>
                    <a:cubicBezTo>
                      <a:pt x="1818786" y="48550"/>
                      <a:pt x="1818786" y="95197"/>
                      <a:pt x="1818786" y="146603"/>
                    </a:cubicBezTo>
                    <a:cubicBezTo>
                      <a:pt x="1215380" y="146603"/>
                      <a:pt x="610069" y="146603"/>
                      <a:pt x="0" y="146603"/>
                    </a:cubicBezTo>
                    <a:close/>
                  </a:path>
                </a:pathLst>
              </a:custGeom>
              <a:grpFill/>
              <a:ln w="9514" cap="flat">
                <a:noFill/>
                <a:prstDash val="solid"/>
                <a:miter/>
              </a:ln>
            </p:spPr>
            <p:txBody>
              <a:bodyPr rtlCol="0" anchor="ctr"/>
              <a:lstStyle/>
              <a:p>
                <a:endParaRPr lang="en-US"/>
              </a:p>
            </p:txBody>
          </p:sp>
          <p:sp>
            <p:nvSpPr>
              <p:cNvPr id="14" name="Freeform 22">
                <a:extLst>
                  <a:ext uri="{FF2B5EF4-FFF2-40B4-BE49-F238E27FC236}">
                    <a16:creationId xmlns:a16="http://schemas.microsoft.com/office/drawing/2014/main" id="{AC4C3B3D-8500-5053-D05B-BCC8F2C00DE1}"/>
                  </a:ext>
                </a:extLst>
              </p:cNvPr>
              <p:cNvSpPr/>
              <p:nvPr/>
            </p:nvSpPr>
            <p:spPr>
              <a:xfrm>
                <a:off x="4932330" y="3956389"/>
                <a:ext cx="1818786" cy="146602"/>
              </a:xfrm>
              <a:custGeom>
                <a:avLst/>
                <a:gdLst>
                  <a:gd name="connsiteX0" fmla="*/ 0 w 1818786"/>
                  <a:gd name="connsiteY0" fmla="*/ 146603 h 146602"/>
                  <a:gd name="connsiteX1" fmla="*/ 0 w 1818786"/>
                  <a:gd name="connsiteY1" fmla="*/ 0 h 146602"/>
                  <a:gd name="connsiteX2" fmla="*/ 1818786 w 1818786"/>
                  <a:gd name="connsiteY2" fmla="*/ 0 h 146602"/>
                  <a:gd name="connsiteX3" fmla="*/ 1818786 w 1818786"/>
                  <a:gd name="connsiteY3" fmla="*/ 146603 h 146602"/>
                  <a:gd name="connsiteX4" fmla="*/ 0 w 1818786"/>
                  <a:gd name="connsiteY4" fmla="*/ 146603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8786" h="146602">
                    <a:moveTo>
                      <a:pt x="0" y="146603"/>
                    </a:moveTo>
                    <a:cubicBezTo>
                      <a:pt x="0" y="97101"/>
                      <a:pt x="0" y="50454"/>
                      <a:pt x="0" y="0"/>
                    </a:cubicBezTo>
                    <a:cubicBezTo>
                      <a:pt x="606262" y="0"/>
                      <a:pt x="1211573" y="0"/>
                      <a:pt x="1818786" y="0"/>
                    </a:cubicBezTo>
                    <a:cubicBezTo>
                      <a:pt x="1818786" y="48550"/>
                      <a:pt x="1818786" y="95197"/>
                      <a:pt x="1818786" y="146603"/>
                    </a:cubicBezTo>
                    <a:cubicBezTo>
                      <a:pt x="1215380" y="146603"/>
                      <a:pt x="610069" y="146603"/>
                      <a:pt x="0" y="146603"/>
                    </a:cubicBezTo>
                    <a:close/>
                  </a:path>
                </a:pathLst>
              </a:custGeom>
              <a:grpFill/>
              <a:ln w="9514" cap="flat">
                <a:noFill/>
                <a:prstDash val="solid"/>
                <a:miter/>
              </a:ln>
            </p:spPr>
            <p:txBody>
              <a:bodyPr rtlCol="0" anchor="ctr"/>
              <a:lstStyle/>
              <a:p>
                <a:endParaRPr lang="en-US"/>
              </a:p>
            </p:txBody>
          </p:sp>
          <p:sp>
            <p:nvSpPr>
              <p:cNvPr id="15" name="Freeform 23">
                <a:extLst>
                  <a:ext uri="{FF2B5EF4-FFF2-40B4-BE49-F238E27FC236}">
                    <a16:creationId xmlns:a16="http://schemas.microsoft.com/office/drawing/2014/main" id="{914F5FC7-A7E9-7160-5D7E-564ED9C1DB3F}"/>
                  </a:ext>
                </a:extLst>
              </p:cNvPr>
              <p:cNvSpPr/>
              <p:nvPr/>
            </p:nvSpPr>
            <p:spPr>
              <a:xfrm>
                <a:off x="4933282" y="3653664"/>
                <a:ext cx="1515179" cy="146602"/>
              </a:xfrm>
              <a:custGeom>
                <a:avLst/>
                <a:gdLst>
                  <a:gd name="connsiteX0" fmla="*/ 1515180 w 1515179"/>
                  <a:gd name="connsiteY0" fmla="*/ 0 h 146602"/>
                  <a:gd name="connsiteX1" fmla="*/ 1515180 w 1515179"/>
                  <a:gd name="connsiteY1" fmla="*/ 146603 h 146602"/>
                  <a:gd name="connsiteX2" fmla="*/ 0 w 1515179"/>
                  <a:gd name="connsiteY2" fmla="*/ 146603 h 146602"/>
                  <a:gd name="connsiteX3" fmla="*/ 0 w 1515179"/>
                  <a:gd name="connsiteY3" fmla="*/ 0 h 146602"/>
                  <a:gd name="connsiteX4" fmla="*/ 1515180 w 1515179"/>
                  <a:gd name="connsiteY4" fmla="*/ 0 h 14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179" h="146602">
                    <a:moveTo>
                      <a:pt x="1515180" y="0"/>
                    </a:moveTo>
                    <a:cubicBezTo>
                      <a:pt x="1515180" y="49502"/>
                      <a:pt x="1515180" y="97100"/>
                      <a:pt x="1515180" y="146603"/>
                    </a:cubicBezTo>
                    <a:cubicBezTo>
                      <a:pt x="1009802" y="146603"/>
                      <a:pt x="506329" y="146603"/>
                      <a:pt x="0" y="146603"/>
                    </a:cubicBezTo>
                    <a:cubicBezTo>
                      <a:pt x="0" y="97100"/>
                      <a:pt x="0" y="50454"/>
                      <a:pt x="0" y="0"/>
                    </a:cubicBezTo>
                    <a:cubicBezTo>
                      <a:pt x="503474" y="0"/>
                      <a:pt x="1006947" y="0"/>
                      <a:pt x="1515180" y="0"/>
                    </a:cubicBezTo>
                    <a:close/>
                  </a:path>
                </a:pathLst>
              </a:custGeom>
              <a:grpFill/>
              <a:ln w="9514" cap="flat">
                <a:noFill/>
                <a:prstDash val="solid"/>
                <a:miter/>
              </a:ln>
            </p:spPr>
            <p:txBody>
              <a:bodyPr rtlCol="0" anchor="ctr"/>
              <a:lstStyle/>
              <a:p>
                <a:endParaRPr lang="en-US"/>
              </a:p>
            </p:txBody>
          </p:sp>
          <p:sp>
            <p:nvSpPr>
              <p:cNvPr id="16" name="Freeform 24">
                <a:extLst>
                  <a:ext uri="{FF2B5EF4-FFF2-40B4-BE49-F238E27FC236}">
                    <a16:creationId xmlns:a16="http://schemas.microsoft.com/office/drawing/2014/main" id="{E0CE7581-05B5-5CD1-4432-215EFA7A29D1}"/>
                  </a:ext>
                </a:extLst>
              </p:cNvPr>
              <p:cNvSpPr/>
              <p:nvPr/>
            </p:nvSpPr>
            <p:spPr>
              <a:xfrm>
                <a:off x="4934233" y="4717010"/>
                <a:ext cx="828970" cy="144699"/>
              </a:xfrm>
              <a:custGeom>
                <a:avLst/>
                <a:gdLst>
                  <a:gd name="connsiteX0" fmla="*/ 828971 w 828970"/>
                  <a:gd name="connsiteY0" fmla="*/ 0 h 144699"/>
                  <a:gd name="connsiteX1" fmla="*/ 828971 w 828970"/>
                  <a:gd name="connsiteY1" fmla="*/ 144699 h 144699"/>
                  <a:gd name="connsiteX2" fmla="*/ 0 w 828970"/>
                  <a:gd name="connsiteY2" fmla="*/ 144699 h 144699"/>
                  <a:gd name="connsiteX3" fmla="*/ 0 w 828970"/>
                  <a:gd name="connsiteY3" fmla="*/ 0 h 144699"/>
                  <a:gd name="connsiteX4" fmla="*/ 828971 w 828970"/>
                  <a:gd name="connsiteY4" fmla="*/ 0 h 14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70" h="144699">
                    <a:moveTo>
                      <a:pt x="828971" y="0"/>
                    </a:moveTo>
                    <a:cubicBezTo>
                      <a:pt x="828971" y="47598"/>
                      <a:pt x="828971" y="94245"/>
                      <a:pt x="828971" y="144699"/>
                    </a:cubicBezTo>
                    <a:cubicBezTo>
                      <a:pt x="552964" y="144699"/>
                      <a:pt x="278861" y="144699"/>
                      <a:pt x="0" y="144699"/>
                    </a:cubicBezTo>
                    <a:cubicBezTo>
                      <a:pt x="0" y="98053"/>
                      <a:pt x="0" y="50454"/>
                      <a:pt x="0" y="0"/>
                    </a:cubicBezTo>
                    <a:cubicBezTo>
                      <a:pt x="276006" y="0"/>
                      <a:pt x="551061" y="0"/>
                      <a:pt x="828971" y="0"/>
                    </a:cubicBezTo>
                    <a:close/>
                  </a:path>
                </a:pathLst>
              </a:custGeom>
              <a:grpFill/>
              <a:ln w="9514" cap="flat">
                <a:noFill/>
                <a:prstDash val="solid"/>
                <a:miter/>
              </a:ln>
            </p:spPr>
            <p:txBody>
              <a:bodyPr rtlCol="0" anchor="ctr"/>
              <a:lstStyle/>
              <a:p>
                <a:endParaRPr lang="en-US"/>
              </a:p>
            </p:txBody>
          </p:sp>
          <p:sp>
            <p:nvSpPr>
              <p:cNvPr id="17" name="Freeform 25">
                <a:extLst>
                  <a:ext uri="{FF2B5EF4-FFF2-40B4-BE49-F238E27FC236}">
                    <a16:creationId xmlns:a16="http://schemas.microsoft.com/office/drawing/2014/main" id="{EEF3BE1C-BE32-5B98-DF0A-B912168183AD}"/>
                  </a:ext>
                </a:extLst>
              </p:cNvPr>
              <p:cNvSpPr/>
              <p:nvPr/>
            </p:nvSpPr>
            <p:spPr>
              <a:xfrm>
                <a:off x="4934233" y="5021639"/>
                <a:ext cx="828970" cy="144699"/>
              </a:xfrm>
              <a:custGeom>
                <a:avLst/>
                <a:gdLst>
                  <a:gd name="connsiteX0" fmla="*/ 828971 w 828970"/>
                  <a:gd name="connsiteY0" fmla="*/ 0 h 144699"/>
                  <a:gd name="connsiteX1" fmla="*/ 828971 w 828970"/>
                  <a:gd name="connsiteY1" fmla="*/ 144699 h 144699"/>
                  <a:gd name="connsiteX2" fmla="*/ 0 w 828970"/>
                  <a:gd name="connsiteY2" fmla="*/ 144699 h 144699"/>
                  <a:gd name="connsiteX3" fmla="*/ 0 w 828970"/>
                  <a:gd name="connsiteY3" fmla="*/ 0 h 144699"/>
                  <a:gd name="connsiteX4" fmla="*/ 828971 w 828970"/>
                  <a:gd name="connsiteY4" fmla="*/ 0 h 144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970" h="144699">
                    <a:moveTo>
                      <a:pt x="828971" y="0"/>
                    </a:moveTo>
                    <a:cubicBezTo>
                      <a:pt x="828971" y="47598"/>
                      <a:pt x="828971" y="94245"/>
                      <a:pt x="828971" y="144699"/>
                    </a:cubicBezTo>
                    <a:cubicBezTo>
                      <a:pt x="552964" y="144699"/>
                      <a:pt x="278861" y="144699"/>
                      <a:pt x="0" y="144699"/>
                    </a:cubicBezTo>
                    <a:cubicBezTo>
                      <a:pt x="0" y="98053"/>
                      <a:pt x="0" y="49502"/>
                      <a:pt x="0" y="0"/>
                    </a:cubicBezTo>
                    <a:cubicBezTo>
                      <a:pt x="276006" y="0"/>
                      <a:pt x="551061" y="0"/>
                      <a:pt x="828971" y="0"/>
                    </a:cubicBezTo>
                    <a:close/>
                  </a:path>
                </a:pathLst>
              </a:custGeom>
              <a:grpFill/>
              <a:ln w="9514" cap="flat">
                <a:noFill/>
                <a:prstDash val="solid"/>
                <a:miter/>
              </a:ln>
            </p:spPr>
            <p:txBody>
              <a:bodyPr rtlCol="0" anchor="ctr"/>
              <a:lstStyle/>
              <a:p>
                <a:endParaRPr lang="en-US"/>
              </a:p>
            </p:txBody>
          </p:sp>
          <p:sp>
            <p:nvSpPr>
              <p:cNvPr id="18" name="Freeform 26">
                <a:extLst>
                  <a:ext uri="{FF2B5EF4-FFF2-40B4-BE49-F238E27FC236}">
                    <a16:creationId xmlns:a16="http://schemas.microsoft.com/office/drawing/2014/main" id="{0962B722-2277-8776-2A9D-2CE00536867B}"/>
                  </a:ext>
                </a:extLst>
              </p:cNvPr>
              <p:cNvSpPr/>
              <p:nvPr/>
            </p:nvSpPr>
            <p:spPr>
              <a:xfrm>
                <a:off x="4933282" y="5325317"/>
                <a:ext cx="829922" cy="145650"/>
              </a:xfrm>
              <a:custGeom>
                <a:avLst/>
                <a:gdLst>
                  <a:gd name="connsiteX0" fmla="*/ 0 w 829922"/>
                  <a:gd name="connsiteY0" fmla="*/ 0 h 145650"/>
                  <a:gd name="connsiteX1" fmla="*/ 829923 w 829922"/>
                  <a:gd name="connsiteY1" fmla="*/ 0 h 145650"/>
                  <a:gd name="connsiteX2" fmla="*/ 829923 w 829922"/>
                  <a:gd name="connsiteY2" fmla="*/ 145651 h 145650"/>
                  <a:gd name="connsiteX3" fmla="*/ 0 w 829922"/>
                  <a:gd name="connsiteY3" fmla="*/ 145651 h 145650"/>
                  <a:gd name="connsiteX4" fmla="*/ 0 w 829922"/>
                  <a:gd name="connsiteY4" fmla="*/ 0 h 145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922" h="145650">
                    <a:moveTo>
                      <a:pt x="0" y="0"/>
                    </a:moveTo>
                    <a:cubicBezTo>
                      <a:pt x="277910" y="0"/>
                      <a:pt x="552964" y="0"/>
                      <a:pt x="829923" y="0"/>
                    </a:cubicBezTo>
                    <a:cubicBezTo>
                      <a:pt x="829923" y="49502"/>
                      <a:pt x="829923" y="96148"/>
                      <a:pt x="829923" y="145651"/>
                    </a:cubicBezTo>
                    <a:cubicBezTo>
                      <a:pt x="552964" y="145651"/>
                      <a:pt x="277910" y="145651"/>
                      <a:pt x="0" y="145651"/>
                    </a:cubicBezTo>
                    <a:cubicBezTo>
                      <a:pt x="0" y="98052"/>
                      <a:pt x="0" y="51406"/>
                      <a:pt x="0" y="0"/>
                    </a:cubicBezTo>
                    <a:close/>
                  </a:path>
                </a:pathLst>
              </a:custGeom>
              <a:grpFill/>
              <a:ln w="9514" cap="flat">
                <a:noFill/>
                <a:prstDash val="solid"/>
                <a:miter/>
              </a:ln>
            </p:spPr>
            <p:txBody>
              <a:bodyPr rtlCol="0" anchor="ctr"/>
              <a:lstStyle/>
              <a:p>
                <a:endParaRPr lang="en-US"/>
              </a:p>
            </p:txBody>
          </p:sp>
          <p:sp>
            <p:nvSpPr>
              <p:cNvPr id="19" name="Freeform 27">
                <a:extLst>
                  <a:ext uri="{FF2B5EF4-FFF2-40B4-BE49-F238E27FC236}">
                    <a16:creationId xmlns:a16="http://schemas.microsoft.com/office/drawing/2014/main" id="{481A880A-E7D6-F67E-4ADC-61E95D9DAA04}"/>
                  </a:ext>
                </a:extLst>
              </p:cNvPr>
              <p:cNvSpPr/>
              <p:nvPr/>
            </p:nvSpPr>
            <p:spPr>
              <a:xfrm>
                <a:off x="6603596" y="3651760"/>
                <a:ext cx="146568" cy="148506"/>
              </a:xfrm>
              <a:custGeom>
                <a:avLst/>
                <a:gdLst>
                  <a:gd name="connsiteX0" fmla="*/ 146569 w 146568"/>
                  <a:gd name="connsiteY0" fmla="*/ 148507 h 148506"/>
                  <a:gd name="connsiteX1" fmla="*/ 0 w 146568"/>
                  <a:gd name="connsiteY1" fmla="*/ 148507 h 148506"/>
                  <a:gd name="connsiteX2" fmla="*/ 0 w 146568"/>
                  <a:gd name="connsiteY2" fmla="*/ 0 h 148506"/>
                  <a:gd name="connsiteX3" fmla="*/ 146569 w 146568"/>
                  <a:gd name="connsiteY3" fmla="*/ 0 h 148506"/>
                  <a:gd name="connsiteX4" fmla="*/ 146569 w 146568"/>
                  <a:gd name="connsiteY4" fmla="*/ 148507 h 148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68" h="148506">
                    <a:moveTo>
                      <a:pt x="146569" y="148507"/>
                    </a:moveTo>
                    <a:cubicBezTo>
                      <a:pt x="96126" y="148507"/>
                      <a:pt x="49491" y="148507"/>
                      <a:pt x="0" y="148507"/>
                    </a:cubicBezTo>
                    <a:cubicBezTo>
                      <a:pt x="0" y="98053"/>
                      <a:pt x="0" y="50454"/>
                      <a:pt x="0" y="0"/>
                    </a:cubicBezTo>
                    <a:cubicBezTo>
                      <a:pt x="49491" y="0"/>
                      <a:pt x="96126" y="0"/>
                      <a:pt x="146569" y="0"/>
                    </a:cubicBezTo>
                    <a:cubicBezTo>
                      <a:pt x="146569" y="49502"/>
                      <a:pt x="146569" y="97101"/>
                      <a:pt x="146569" y="148507"/>
                    </a:cubicBezTo>
                    <a:close/>
                  </a:path>
                </a:pathLst>
              </a:custGeom>
              <a:grpFill/>
              <a:ln w="9514" cap="flat">
                <a:noFill/>
                <a:prstDash val="solid"/>
                <a:miter/>
              </a:ln>
            </p:spPr>
            <p:txBody>
              <a:bodyPr rtlCol="0" anchor="ctr"/>
              <a:lstStyle/>
              <a:p>
                <a:endParaRPr lang="en-US"/>
              </a:p>
            </p:txBody>
          </p:sp>
          <p:sp>
            <p:nvSpPr>
              <p:cNvPr id="20" name="Freeform 28">
                <a:extLst>
                  <a:ext uri="{FF2B5EF4-FFF2-40B4-BE49-F238E27FC236}">
                    <a16:creationId xmlns:a16="http://schemas.microsoft.com/office/drawing/2014/main" id="{E583C531-C2F3-CAE8-A905-2E699DCF93AB}"/>
                  </a:ext>
                </a:extLst>
              </p:cNvPr>
              <p:cNvSpPr/>
              <p:nvPr/>
            </p:nvSpPr>
            <p:spPr>
              <a:xfrm>
                <a:off x="5996382" y="1982011"/>
                <a:ext cx="451127" cy="449328"/>
              </a:xfrm>
              <a:custGeom>
                <a:avLst/>
                <a:gdLst>
                  <a:gd name="connsiteX0" fmla="*/ 451127 w 451127"/>
                  <a:gd name="connsiteY0" fmla="*/ 449328 h 449328"/>
                  <a:gd name="connsiteX1" fmla="*/ 0 w 451127"/>
                  <a:gd name="connsiteY1" fmla="*/ 449328 h 449328"/>
                  <a:gd name="connsiteX2" fmla="*/ 0 w 451127"/>
                  <a:gd name="connsiteY2" fmla="*/ 0 h 449328"/>
                  <a:gd name="connsiteX3" fmla="*/ 451127 w 451127"/>
                  <a:gd name="connsiteY3" fmla="*/ 0 h 449328"/>
                  <a:gd name="connsiteX4" fmla="*/ 451127 w 451127"/>
                  <a:gd name="connsiteY4" fmla="*/ 449328 h 449328"/>
                  <a:gd name="connsiteX5" fmla="*/ 297896 w 451127"/>
                  <a:gd name="connsiteY5" fmla="*/ 151363 h 449328"/>
                  <a:gd name="connsiteX6" fmla="*/ 153231 w 451127"/>
                  <a:gd name="connsiteY6" fmla="*/ 151363 h 449328"/>
                  <a:gd name="connsiteX7" fmla="*/ 153231 w 451127"/>
                  <a:gd name="connsiteY7" fmla="*/ 297966 h 449328"/>
                  <a:gd name="connsiteX8" fmla="*/ 297896 w 451127"/>
                  <a:gd name="connsiteY8" fmla="*/ 297966 h 449328"/>
                  <a:gd name="connsiteX9" fmla="*/ 297896 w 451127"/>
                  <a:gd name="connsiteY9" fmla="*/ 151363 h 44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127" h="449328">
                    <a:moveTo>
                      <a:pt x="451127" y="449328"/>
                    </a:moveTo>
                    <a:cubicBezTo>
                      <a:pt x="298848" y="449328"/>
                      <a:pt x="151328" y="449328"/>
                      <a:pt x="0" y="449328"/>
                    </a:cubicBezTo>
                    <a:cubicBezTo>
                      <a:pt x="0" y="299869"/>
                      <a:pt x="0" y="151363"/>
                      <a:pt x="0" y="0"/>
                    </a:cubicBezTo>
                    <a:cubicBezTo>
                      <a:pt x="150376" y="0"/>
                      <a:pt x="298848" y="0"/>
                      <a:pt x="451127" y="0"/>
                    </a:cubicBezTo>
                    <a:cubicBezTo>
                      <a:pt x="451127" y="149459"/>
                      <a:pt x="451127" y="297013"/>
                      <a:pt x="451127" y="449328"/>
                    </a:cubicBezTo>
                    <a:close/>
                    <a:moveTo>
                      <a:pt x="297896" y="151363"/>
                    </a:moveTo>
                    <a:cubicBezTo>
                      <a:pt x="247454" y="151363"/>
                      <a:pt x="199867" y="151363"/>
                      <a:pt x="153231" y="151363"/>
                    </a:cubicBezTo>
                    <a:cubicBezTo>
                      <a:pt x="153231" y="201817"/>
                      <a:pt x="153231" y="248463"/>
                      <a:pt x="153231" y="297966"/>
                    </a:cubicBezTo>
                    <a:cubicBezTo>
                      <a:pt x="202722" y="297966"/>
                      <a:pt x="249357" y="297966"/>
                      <a:pt x="297896" y="297966"/>
                    </a:cubicBezTo>
                    <a:cubicBezTo>
                      <a:pt x="297896" y="247511"/>
                      <a:pt x="297896" y="199913"/>
                      <a:pt x="297896" y="151363"/>
                    </a:cubicBezTo>
                    <a:close/>
                  </a:path>
                </a:pathLst>
              </a:custGeom>
              <a:grpFill/>
              <a:ln w="9514" cap="flat">
                <a:noFill/>
                <a:prstDash val="solid"/>
                <a:miter/>
              </a:ln>
            </p:spPr>
            <p:txBody>
              <a:bodyPr rtlCol="0" anchor="ctr"/>
              <a:lstStyle/>
              <a:p>
                <a:endParaRPr lang="en-US"/>
              </a:p>
            </p:txBody>
          </p:sp>
          <p:sp>
            <p:nvSpPr>
              <p:cNvPr id="21" name="Freeform 29">
                <a:extLst>
                  <a:ext uri="{FF2B5EF4-FFF2-40B4-BE49-F238E27FC236}">
                    <a16:creationId xmlns:a16="http://schemas.microsoft.com/office/drawing/2014/main" id="{1690C592-EC31-039C-8326-EEF62FF54301}"/>
                  </a:ext>
                </a:extLst>
              </p:cNvPr>
              <p:cNvSpPr/>
              <p:nvPr/>
            </p:nvSpPr>
            <p:spPr>
              <a:xfrm>
                <a:off x="5313028" y="1981059"/>
                <a:ext cx="449224" cy="451232"/>
              </a:xfrm>
              <a:custGeom>
                <a:avLst/>
                <a:gdLst>
                  <a:gd name="connsiteX0" fmla="*/ 0 w 449224"/>
                  <a:gd name="connsiteY0" fmla="*/ 0 h 451232"/>
                  <a:gd name="connsiteX1" fmla="*/ 449224 w 449224"/>
                  <a:gd name="connsiteY1" fmla="*/ 0 h 451232"/>
                  <a:gd name="connsiteX2" fmla="*/ 449224 w 449224"/>
                  <a:gd name="connsiteY2" fmla="*/ 451232 h 451232"/>
                  <a:gd name="connsiteX3" fmla="*/ 0 w 449224"/>
                  <a:gd name="connsiteY3" fmla="*/ 451232 h 451232"/>
                  <a:gd name="connsiteX4" fmla="*/ 0 w 449224"/>
                  <a:gd name="connsiteY4" fmla="*/ 0 h 451232"/>
                  <a:gd name="connsiteX5" fmla="*/ 296945 w 449224"/>
                  <a:gd name="connsiteY5" fmla="*/ 299869 h 451232"/>
                  <a:gd name="connsiteX6" fmla="*/ 296945 w 449224"/>
                  <a:gd name="connsiteY6" fmla="*/ 151363 h 451232"/>
                  <a:gd name="connsiteX7" fmla="*/ 151328 w 449224"/>
                  <a:gd name="connsiteY7" fmla="*/ 151363 h 451232"/>
                  <a:gd name="connsiteX8" fmla="*/ 151328 w 449224"/>
                  <a:gd name="connsiteY8" fmla="*/ 299869 h 451232"/>
                  <a:gd name="connsiteX9" fmla="*/ 296945 w 449224"/>
                  <a:gd name="connsiteY9" fmla="*/ 299869 h 4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224" h="451232">
                    <a:moveTo>
                      <a:pt x="0" y="0"/>
                    </a:moveTo>
                    <a:cubicBezTo>
                      <a:pt x="150376" y="0"/>
                      <a:pt x="297897" y="0"/>
                      <a:pt x="449224" y="0"/>
                    </a:cubicBezTo>
                    <a:cubicBezTo>
                      <a:pt x="449224" y="151363"/>
                      <a:pt x="449224" y="299869"/>
                      <a:pt x="449224" y="451232"/>
                    </a:cubicBezTo>
                    <a:cubicBezTo>
                      <a:pt x="298848" y="451232"/>
                      <a:pt x="151328" y="451232"/>
                      <a:pt x="0" y="451232"/>
                    </a:cubicBezTo>
                    <a:cubicBezTo>
                      <a:pt x="0" y="300821"/>
                      <a:pt x="0" y="151363"/>
                      <a:pt x="0" y="0"/>
                    </a:cubicBezTo>
                    <a:close/>
                    <a:moveTo>
                      <a:pt x="296945" y="299869"/>
                    </a:moveTo>
                    <a:cubicBezTo>
                      <a:pt x="296945" y="246559"/>
                      <a:pt x="296945" y="198961"/>
                      <a:pt x="296945" y="151363"/>
                    </a:cubicBezTo>
                    <a:cubicBezTo>
                      <a:pt x="246502" y="151363"/>
                      <a:pt x="199867" y="151363"/>
                      <a:pt x="151328" y="151363"/>
                    </a:cubicBezTo>
                    <a:cubicBezTo>
                      <a:pt x="151328" y="201817"/>
                      <a:pt x="151328" y="249415"/>
                      <a:pt x="151328" y="299869"/>
                    </a:cubicBezTo>
                    <a:cubicBezTo>
                      <a:pt x="201770" y="299869"/>
                      <a:pt x="248406" y="299869"/>
                      <a:pt x="296945" y="299869"/>
                    </a:cubicBezTo>
                    <a:close/>
                  </a:path>
                </a:pathLst>
              </a:custGeom>
              <a:grpFill/>
              <a:ln w="9514" cap="flat">
                <a:noFill/>
                <a:prstDash val="solid"/>
                <a:miter/>
              </a:ln>
            </p:spPr>
            <p:txBody>
              <a:bodyPr rtlCol="0" anchor="ctr"/>
              <a:lstStyle/>
              <a:p>
                <a:endParaRPr lang="en-US"/>
              </a:p>
            </p:txBody>
          </p:sp>
          <p:sp>
            <p:nvSpPr>
              <p:cNvPr id="22" name="Freeform 30">
                <a:extLst>
                  <a:ext uri="{FF2B5EF4-FFF2-40B4-BE49-F238E27FC236}">
                    <a16:creationId xmlns:a16="http://schemas.microsoft.com/office/drawing/2014/main" id="{64249B57-ECBB-7694-5773-AA1760200D70}"/>
                  </a:ext>
                </a:extLst>
              </p:cNvPr>
              <p:cNvSpPr/>
              <p:nvPr/>
            </p:nvSpPr>
            <p:spPr>
              <a:xfrm>
                <a:off x="4629675" y="1981059"/>
                <a:ext cx="448272" cy="451232"/>
              </a:xfrm>
              <a:custGeom>
                <a:avLst/>
                <a:gdLst>
                  <a:gd name="connsiteX0" fmla="*/ 448272 w 448272"/>
                  <a:gd name="connsiteY0" fmla="*/ 451232 h 451232"/>
                  <a:gd name="connsiteX1" fmla="*/ 0 w 448272"/>
                  <a:gd name="connsiteY1" fmla="*/ 451232 h 451232"/>
                  <a:gd name="connsiteX2" fmla="*/ 0 w 448272"/>
                  <a:gd name="connsiteY2" fmla="*/ 0 h 451232"/>
                  <a:gd name="connsiteX3" fmla="*/ 448272 w 448272"/>
                  <a:gd name="connsiteY3" fmla="*/ 0 h 451232"/>
                  <a:gd name="connsiteX4" fmla="*/ 448272 w 448272"/>
                  <a:gd name="connsiteY4" fmla="*/ 451232 h 451232"/>
                  <a:gd name="connsiteX5" fmla="*/ 297896 w 448272"/>
                  <a:gd name="connsiteY5" fmla="*/ 151363 h 451232"/>
                  <a:gd name="connsiteX6" fmla="*/ 150376 w 448272"/>
                  <a:gd name="connsiteY6" fmla="*/ 151363 h 451232"/>
                  <a:gd name="connsiteX7" fmla="*/ 150376 w 448272"/>
                  <a:gd name="connsiteY7" fmla="*/ 297966 h 451232"/>
                  <a:gd name="connsiteX8" fmla="*/ 297896 w 448272"/>
                  <a:gd name="connsiteY8" fmla="*/ 297966 h 451232"/>
                  <a:gd name="connsiteX9" fmla="*/ 297896 w 448272"/>
                  <a:gd name="connsiteY9" fmla="*/ 151363 h 45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8272" h="451232">
                    <a:moveTo>
                      <a:pt x="448272" y="451232"/>
                    </a:moveTo>
                    <a:cubicBezTo>
                      <a:pt x="296945" y="451232"/>
                      <a:pt x="150376" y="451232"/>
                      <a:pt x="0" y="451232"/>
                    </a:cubicBezTo>
                    <a:cubicBezTo>
                      <a:pt x="0" y="300821"/>
                      <a:pt x="0" y="152315"/>
                      <a:pt x="0" y="0"/>
                    </a:cubicBezTo>
                    <a:cubicBezTo>
                      <a:pt x="149424" y="0"/>
                      <a:pt x="297896" y="0"/>
                      <a:pt x="448272" y="0"/>
                    </a:cubicBezTo>
                    <a:cubicBezTo>
                      <a:pt x="448272" y="150411"/>
                      <a:pt x="448272" y="298918"/>
                      <a:pt x="448272" y="451232"/>
                    </a:cubicBezTo>
                    <a:close/>
                    <a:moveTo>
                      <a:pt x="297896" y="151363"/>
                    </a:moveTo>
                    <a:cubicBezTo>
                      <a:pt x="247454" y="151363"/>
                      <a:pt x="199867" y="151363"/>
                      <a:pt x="150376" y="151363"/>
                    </a:cubicBezTo>
                    <a:cubicBezTo>
                      <a:pt x="150376" y="201817"/>
                      <a:pt x="150376" y="249415"/>
                      <a:pt x="150376" y="297966"/>
                    </a:cubicBezTo>
                    <a:cubicBezTo>
                      <a:pt x="201770" y="297966"/>
                      <a:pt x="249357" y="297966"/>
                      <a:pt x="297896" y="297966"/>
                    </a:cubicBezTo>
                    <a:cubicBezTo>
                      <a:pt x="297896" y="246559"/>
                      <a:pt x="297896" y="199913"/>
                      <a:pt x="297896" y="151363"/>
                    </a:cubicBezTo>
                    <a:close/>
                  </a:path>
                </a:pathLst>
              </a:custGeom>
              <a:grpFill/>
              <a:ln w="9514" cap="flat">
                <a:noFill/>
                <a:prstDash val="solid"/>
                <a:miter/>
              </a:ln>
            </p:spPr>
            <p:txBody>
              <a:bodyPr rtlCol="0" anchor="ctr"/>
              <a:lstStyle/>
              <a:p>
                <a:endParaRPr lang="en-US"/>
              </a:p>
            </p:txBody>
          </p:sp>
        </p:grpSp>
      </p:grpSp>
      <p:sp>
        <p:nvSpPr>
          <p:cNvPr id="24" name="TextBox 23">
            <a:extLst>
              <a:ext uri="{FF2B5EF4-FFF2-40B4-BE49-F238E27FC236}">
                <a16:creationId xmlns:a16="http://schemas.microsoft.com/office/drawing/2014/main" id="{47DA6201-BF58-C03F-881C-146C40EBFD0A}"/>
              </a:ext>
            </a:extLst>
          </p:cNvPr>
          <p:cNvSpPr txBox="1"/>
          <p:nvPr/>
        </p:nvSpPr>
        <p:spPr>
          <a:xfrm>
            <a:off x="3366435" y="3490904"/>
            <a:ext cx="7827746" cy="2554545"/>
          </a:xfrm>
          <a:prstGeom prst="rect">
            <a:avLst/>
          </a:prstGeom>
          <a:noFill/>
        </p:spPr>
        <p:txBody>
          <a:bodyPr wrap="square">
            <a:spAutoFit/>
          </a:bodyPr>
          <a:lstStyle/>
          <a:p>
            <a:pPr marL="457200" indent="-457200" algn="just">
              <a:buFont typeface="Arial" panose="020B0604020202020204" pitchFamily="34" charset="0"/>
              <a:buChar char="•"/>
            </a:pPr>
            <a:r>
              <a:rPr lang="en-GB" sz="2000" b="1" dirty="0">
                <a:solidFill>
                  <a:srgbClr val="0F486D"/>
                </a:solidFill>
                <a:latin typeface="Calibri" panose="020F0502020204030204" pitchFamily="34" charset="0"/>
                <a:ea typeface="Calibri" panose="020F0502020204030204" pitchFamily="34" charset="0"/>
                <a:cs typeface="Calibri" panose="020F0502020204030204" pitchFamily="34" charset="0"/>
              </a:rPr>
              <a:t>Umfragen und Interviews</a:t>
            </a:r>
            <a:r>
              <a:rPr lang="en-GB" sz="2000" dirty="0">
                <a:solidFill>
                  <a:srgbClr val="0F486D"/>
                </a:solidFill>
                <a:latin typeface="Calibri" panose="020F0502020204030204" pitchFamily="34" charset="0"/>
                <a:ea typeface="Calibri" panose="020F0502020204030204" pitchFamily="34" charset="0"/>
                <a:cs typeface="Calibri" panose="020F0502020204030204" pitchFamily="34" charset="0"/>
              </a:rPr>
              <a:t>: Beziehen Sie Interessengruppen ein, um qualitatives Feedback zu sammeln.</a:t>
            </a:r>
          </a:p>
          <a:p>
            <a:pPr marL="457200" indent="-457200" algn="just">
              <a:buFont typeface="Arial" panose="020B0604020202020204" pitchFamily="34" charset="0"/>
              <a:buChar char="•"/>
            </a:pPr>
            <a:endParaRPr lang="en-GB" sz="2000" b="1" dirty="0">
              <a:solidFill>
                <a:srgbClr val="0F486D"/>
              </a:solidFill>
              <a:latin typeface="Calibri" panose="020F0502020204030204" pitchFamily="34" charset="0"/>
              <a:ea typeface="Calibri" panose="020F0502020204030204" pitchFamily="34" charset="0"/>
              <a:cs typeface="Calibri" panose="020F0502020204030204" pitchFamily="34" charset="0"/>
            </a:endParaRPr>
          </a:p>
          <a:p>
            <a:pPr marL="457200" indent="-457200" algn="just">
              <a:buFont typeface="Arial" panose="020B0604020202020204" pitchFamily="34" charset="0"/>
              <a:buChar char="•"/>
            </a:pPr>
            <a:r>
              <a:rPr lang="en-GB" sz="2000" b="1" dirty="0">
                <a:solidFill>
                  <a:srgbClr val="0F486D"/>
                </a:solidFill>
                <a:latin typeface="Calibri" panose="020F0502020204030204" pitchFamily="34" charset="0"/>
                <a:ea typeface="Calibri" panose="020F0502020204030204" pitchFamily="34" charset="0"/>
                <a:cs typeface="Calibri" panose="020F0502020204030204" pitchFamily="34" charset="0"/>
              </a:rPr>
              <a:t>Audits und Beurteilungen</a:t>
            </a:r>
            <a:r>
              <a:rPr lang="en-GB" sz="2000" dirty="0">
                <a:solidFill>
                  <a:srgbClr val="0F486D"/>
                </a:solidFill>
                <a:latin typeface="Calibri" panose="020F0502020204030204" pitchFamily="34" charset="0"/>
                <a:ea typeface="Calibri" panose="020F0502020204030204" pitchFamily="34" charset="0"/>
                <a:cs typeface="Calibri" panose="020F0502020204030204" pitchFamily="34" charset="0"/>
              </a:rPr>
              <a:t>: Führen Sie Überprüfungen durch, um die Einhaltung der Nachhaltigkeitsziele zu gewährleisten.</a:t>
            </a:r>
          </a:p>
          <a:p>
            <a:pPr marL="457200" indent="-457200" algn="just">
              <a:buFont typeface="Arial" panose="020B0604020202020204" pitchFamily="34" charset="0"/>
              <a:buChar char="•"/>
            </a:pPr>
            <a:endParaRPr lang="en-GB" sz="2000" b="1" dirty="0">
              <a:solidFill>
                <a:srgbClr val="0F486D"/>
              </a:solidFill>
              <a:latin typeface="Calibri" panose="020F0502020204030204" pitchFamily="34" charset="0"/>
              <a:ea typeface="Calibri" panose="020F0502020204030204" pitchFamily="34" charset="0"/>
              <a:cs typeface="Calibri" panose="020F0502020204030204" pitchFamily="34" charset="0"/>
            </a:endParaRPr>
          </a:p>
          <a:p>
            <a:pPr marL="457200" indent="-457200" algn="just">
              <a:buFont typeface="Arial" panose="020B0604020202020204" pitchFamily="34" charset="0"/>
              <a:buChar char="•"/>
            </a:pPr>
            <a:r>
              <a:rPr lang="en-GB" sz="2000" b="1" dirty="0">
                <a:solidFill>
                  <a:srgbClr val="0F486D"/>
                </a:solidFill>
                <a:latin typeface="Calibri" panose="020F0502020204030204" pitchFamily="34" charset="0"/>
                <a:ea typeface="Calibri" panose="020F0502020204030204" pitchFamily="34" charset="0"/>
                <a:cs typeface="Calibri" panose="020F0502020204030204" pitchFamily="34" charset="0"/>
              </a:rPr>
              <a:t>Automatisierte Systeme</a:t>
            </a:r>
            <a:r>
              <a:rPr lang="en-GB" sz="2000" dirty="0">
                <a:solidFill>
                  <a:srgbClr val="0F486D"/>
                </a:solidFill>
                <a:latin typeface="Calibri" panose="020F0502020204030204" pitchFamily="34" charset="0"/>
                <a:ea typeface="Calibri" panose="020F0502020204030204" pitchFamily="34" charset="0"/>
                <a:cs typeface="Calibri" panose="020F0502020204030204" pitchFamily="34" charset="0"/>
              </a:rPr>
              <a:t>: Implementierung von IoT-Sensoren für die Echtzeitüberwachung von Umweltmetriken.</a:t>
            </a:r>
          </a:p>
        </p:txBody>
      </p:sp>
      <p:grpSp>
        <p:nvGrpSpPr>
          <p:cNvPr id="25" name="Group 24">
            <a:extLst>
              <a:ext uri="{FF2B5EF4-FFF2-40B4-BE49-F238E27FC236}">
                <a16:creationId xmlns:a16="http://schemas.microsoft.com/office/drawing/2014/main" id="{92C33368-BE58-81CA-D987-AB4B62AEEF94}"/>
              </a:ext>
            </a:extLst>
          </p:cNvPr>
          <p:cNvGrpSpPr/>
          <p:nvPr/>
        </p:nvGrpSpPr>
        <p:grpSpPr>
          <a:xfrm>
            <a:off x="1629964" y="4576636"/>
            <a:ext cx="962616" cy="834909"/>
            <a:chOff x="-4712685" y="3328877"/>
            <a:chExt cx="3646852" cy="3163039"/>
          </a:xfrm>
          <a:solidFill>
            <a:srgbClr val="0F486D"/>
          </a:solidFill>
        </p:grpSpPr>
        <p:sp>
          <p:nvSpPr>
            <p:cNvPr id="26" name="Freeform 4">
              <a:extLst>
                <a:ext uri="{FF2B5EF4-FFF2-40B4-BE49-F238E27FC236}">
                  <a16:creationId xmlns:a16="http://schemas.microsoft.com/office/drawing/2014/main" id="{C8673D6F-0D07-8348-8503-B1840A8995E1}"/>
                </a:ext>
              </a:extLst>
            </p:cNvPr>
            <p:cNvSpPr/>
            <p:nvPr/>
          </p:nvSpPr>
          <p:spPr>
            <a:xfrm>
              <a:off x="-2751053" y="3630243"/>
              <a:ext cx="1336624" cy="1338322"/>
            </a:xfrm>
            <a:custGeom>
              <a:avLst/>
              <a:gdLst>
                <a:gd name="connsiteX0" fmla="*/ 1238337 w 1336624"/>
                <a:gd name="connsiteY0" fmla="*/ 313636 h 1338322"/>
                <a:gd name="connsiteX1" fmla="*/ 1233578 w 1336624"/>
                <a:gd name="connsiteY1" fmla="*/ 332675 h 1338322"/>
                <a:gd name="connsiteX2" fmla="*/ 1304959 w 1336624"/>
                <a:gd name="connsiteY2" fmla="*/ 506885 h 1338322"/>
                <a:gd name="connsiteX3" fmla="*/ 1318283 w 1336624"/>
                <a:gd name="connsiteY3" fmla="*/ 576379 h 1338322"/>
                <a:gd name="connsiteX4" fmla="*/ 1318283 w 1336624"/>
                <a:gd name="connsiteY4" fmla="*/ 762012 h 1338322"/>
                <a:gd name="connsiteX5" fmla="*/ 1305911 w 1336624"/>
                <a:gd name="connsiteY5" fmla="*/ 831506 h 1338322"/>
                <a:gd name="connsiteX6" fmla="*/ 1233578 w 1336624"/>
                <a:gd name="connsiteY6" fmla="*/ 1005716 h 1338322"/>
                <a:gd name="connsiteX7" fmla="*/ 1196460 w 1336624"/>
                <a:gd name="connsiteY7" fmla="*/ 1062834 h 1338322"/>
                <a:gd name="connsiteX8" fmla="*/ 1061312 w 1336624"/>
                <a:gd name="connsiteY8" fmla="*/ 1201821 h 1338322"/>
                <a:gd name="connsiteX9" fmla="*/ 1009918 w 1336624"/>
                <a:gd name="connsiteY9" fmla="*/ 1237044 h 1338322"/>
                <a:gd name="connsiteX10" fmla="*/ 826231 w 1336624"/>
                <a:gd name="connsiteY10" fmla="*/ 1315105 h 1338322"/>
                <a:gd name="connsiteX11" fmla="*/ 767223 w 1336624"/>
                <a:gd name="connsiteY11" fmla="*/ 1326528 h 1338322"/>
                <a:gd name="connsiteX12" fmla="*/ 568308 w 1336624"/>
                <a:gd name="connsiteY12" fmla="*/ 1325576 h 1338322"/>
                <a:gd name="connsiteX13" fmla="*/ 508348 w 1336624"/>
                <a:gd name="connsiteY13" fmla="*/ 1312249 h 1338322"/>
                <a:gd name="connsiteX14" fmla="*/ 326564 w 1336624"/>
                <a:gd name="connsiteY14" fmla="*/ 1237044 h 1338322"/>
                <a:gd name="connsiteX15" fmla="*/ 274218 w 1336624"/>
                <a:gd name="connsiteY15" fmla="*/ 1202773 h 1338322"/>
                <a:gd name="connsiteX16" fmla="*/ 132408 w 1336624"/>
                <a:gd name="connsiteY16" fmla="*/ 1061882 h 1338322"/>
                <a:gd name="connsiteX17" fmla="*/ 99097 w 1336624"/>
                <a:gd name="connsiteY17" fmla="*/ 1012379 h 1338322"/>
                <a:gd name="connsiteX18" fmla="*/ 21054 w 1336624"/>
                <a:gd name="connsiteY18" fmla="*/ 825794 h 1338322"/>
                <a:gd name="connsiteX19" fmla="*/ 10585 w 1336624"/>
                <a:gd name="connsiteY19" fmla="*/ 769628 h 1338322"/>
                <a:gd name="connsiteX20" fmla="*/ 10585 w 1336624"/>
                <a:gd name="connsiteY20" fmla="*/ 567811 h 1338322"/>
                <a:gd name="connsiteX21" fmla="*/ 22957 w 1336624"/>
                <a:gd name="connsiteY21" fmla="*/ 509741 h 1338322"/>
                <a:gd name="connsiteX22" fmla="*/ 99097 w 1336624"/>
                <a:gd name="connsiteY22" fmla="*/ 325060 h 1338322"/>
                <a:gd name="connsiteX23" fmla="*/ 135263 w 1336624"/>
                <a:gd name="connsiteY23" fmla="*/ 274605 h 1338322"/>
                <a:gd name="connsiteX24" fmla="*/ 274218 w 1336624"/>
                <a:gd name="connsiteY24" fmla="*/ 138474 h 1338322"/>
                <a:gd name="connsiteX25" fmla="*/ 328468 w 1336624"/>
                <a:gd name="connsiteY25" fmla="*/ 102300 h 1338322"/>
                <a:gd name="connsiteX26" fmla="*/ 505492 w 1336624"/>
                <a:gd name="connsiteY26" fmla="*/ 28998 h 1338322"/>
                <a:gd name="connsiteX27" fmla="*/ 573066 w 1336624"/>
                <a:gd name="connsiteY27" fmla="*/ 16623 h 1338322"/>
                <a:gd name="connsiteX28" fmla="*/ 761512 w 1336624"/>
                <a:gd name="connsiteY28" fmla="*/ 16623 h 1338322"/>
                <a:gd name="connsiteX29" fmla="*/ 829086 w 1336624"/>
                <a:gd name="connsiteY29" fmla="*/ 28998 h 1338322"/>
                <a:gd name="connsiteX30" fmla="*/ 1006111 w 1336624"/>
                <a:gd name="connsiteY30" fmla="*/ 101348 h 1338322"/>
                <a:gd name="connsiteX31" fmla="*/ 1060360 w 1336624"/>
                <a:gd name="connsiteY31" fmla="*/ 137522 h 1338322"/>
                <a:gd name="connsiteX32" fmla="*/ 1199315 w 1336624"/>
                <a:gd name="connsiteY32" fmla="*/ 273654 h 1338322"/>
                <a:gd name="connsiteX33" fmla="*/ 1238337 w 1336624"/>
                <a:gd name="connsiteY33" fmla="*/ 313636 h 1338322"/>
                <a:gd name="connsiteX34" fmla="*/ 666337 w 1336624"/>
                <a:gd name="connsiteY34" fmla="*/ 1156126 h 1338322"/>
                <a:gd name="connsiteX35" fmla="*/ 1152680 w 1336624"/>
                <a:gd name="connsiteY35" fmla="*/ 673479 h 1338322"/>
                <a:gd name="connsiteX36" fmla="*/ 670145 w 1336624"/>
                <a:gd name="connsiteY36" fmla="*/ 183217 h 1338322"/>
                <a:gd name="connsiteX37" fmla="*/ 181899 w 1336624"/>
                <a:gd name="connsiteY37" fmla="*/ 667768 h 1338322"/>
                <a:gd name="connsiteX38" fmla="*/ 666337 w 1336624"/>
                <a:gd name="connsiteY38" fmla="*/ 1156126 h 133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36624" h="1338322">
                  <a:moveTo>
                    <a:pt x="1238337" y="313636"/>
                  </a:moveTo>
                  <a:cubicBezTo>
                    <a:pt x="1237385" y="318396"/>
                    <a:pt x="1235481" y="326012"/>
                    <a:pt x="1233578" y="332675"/>
                  </a:cubicBezTo>
                  <a:cubicBezTo>
                    <a:pt x="1216446" y="405025"/>
                    <a:pt x="1243096" y="467855"/>
                    <a:pt x="1304959" y="506885"/>
                  </a:cubicBezTo>
                  <a:cubicBezTo>
                    <a:pt x="1343029" y="530684"/>
                    <a:pt x="1344932" y="539252"/>
                    <a:pt x="1318283" y="576379"/>
                  </a:cubicBezTo>
                  <a:cubicBezTo>
                    <a:pt x="1276407" y="634449"/>
                    <a:pt x="1276407" y="702990"/>
                    <a:pt x="1318283" y="762012"/>
                  </a:cubicBezTo>
                  <a:cubicBezTo>
                    <a:pt x="1344932" y="800091"/>
                    <a:pt x="1343981" y="808659"/>
                    <a:pt x="1305911" y="831506"/>
                  </a:cubicBezTo>
                  <a:cubicBezTo>
                    <a:pt x="1243096" y="870536"/>
                    <a:pt x="1216446" y="934318"/>
                    <a:pt x="1233578" y="1005716"/>
                  </a:cubicBezTo>
                  <a:cubicBezTo>
                    <a:pt x="1243096" y="1047602"/>
                    <a:pt x="1238337" y="1055218"/>
                    <a:pt x="1196460" y="1062834"/>
                  </a:cubicBezTo>
                  <a:cubicBezTo>
                    <a:pt x="1118417" y="1077113"/>
                    <a:pt x="1073685" y="1122808"/>
                    <a:pt x="1061312" y="1201821"/>
                  </a:cubicBezTo>
                  <a:cubicBezTo>
                    <a:pt x="1055602" y="1236092"/>
                    <a:pt x="1044181" y="1243707"/>
                    <a:pt x="1009918" y="1237044"/>
                  </a:cubicBezTo>
                  <a:cubicBezTo>
                    <a:pt x="924261" y="1218956"/>
                    <a:pt x="872866" y="1240851"/>
                    <a:pt x="826231" y="1315105"/>
                  </a:cubicBezTo>
                  <a:cubicBezTo>
                    <a:pt x="810051" y="1341760"/>
                    <a:pt x="791968" y="1343664"/>
                    <a:pt x="767223" y="1326528"/>
                  </a:cubicBezTo>
                  <a:cubicBezTo>
                    <a:pt x="696793" y="1276074"/>
                    <a:pt x="637785" y="1276074"/>
                    <a:pt x="568308" y="1325576"/>
                  </a:cubicBezTo>
                  <a:cubicBezTo>
                    <a:pt x="540707" y="1345568"/>
                    <a:pt x="527383" y="1342712"/>
                    <a:pt x="508348" y="1312249"/>
                  </a:cubicBezTo>
                  <a:cubicBezTo>
                    <a:pt x="463616" y="1241803"/>
                    <a:pt x="409366" y="1218956"/>
                    <a:pt x="326564" y="1237044"/>
                  </a:cubicBezTo>
                  <a:cubicBezTo>
                    <a:pt x="297060" y="1243707"/>
                    <a:pt x="279929" y="1237044"/>
                    <a:pt x="274218" y="1202773"/>
                  </a:cubicBezTo>
                  <a:cubicBezTo>
                    <a:pt x="260894" y="1118048"/>
                    <a:pt x="219017" y="1077113"/>
                    <a:pt x="132408" y="1061882"/>
                  </a:cubicBezTo>
                  <a:cubicBezTo>
                    <a:pt x="101952" y="1056170"/>
                    <a:pt x="92435" y="1040938"/>
                    <a:pt x="99097" y="1012379"/>
                  </a:cubicBezTo>
                  <a:cubicBezTo>
                    <a:pt x="117180" y="921943"/>
                    <a:pt x="99097" y="878152"/>
                    <a:pt x="21054" y="825794"/>
                  </a:cubicBezTo>
                  <a:cubicBezTo>
                    <a:pt x="-2740" y="809611"/>
                    <a:pt x="-5595" y="793427"/>
                    <a:pt x="10585" y="769628"/>
                  </a:cubicBezTo>
                  <a:cubicBezTo>
                    <a:pt x="62931" y="694423"/>
                    <a:pt x="62931" y="641113"/>
                    <a:pt x="10585" y="567811"/>
                  </a:cubicBezTo>
                  <a:cubicBezTo>
                    <a:pt x="-7499" y="542108"/>
                    <a:pt x="-1788" y="525925"/>
                    <a:pt x="22957" y="509741"/>
                  </a:cubicBezTo>
                  <a:cubicBezTo>
                    <a:pt x="96242" y="464047"/>
                    <a:pt x="117180" y="411689"/>
                    <a:pt x="99097" y="325060"/>
                  </a:cubicBezTo>
                  <a:cubicBezTo>
                    <a:pt x="92435" y="291741"/>
                    <a:pt x="101000" y="280317"/>
                    <a:pt x="135263" y="274605"/>
                  </a:cubicBezTo>
                  <a:cubicBezTo>
                    <a:pt x="212355" y="262230"/>
                    <a:pt x="258990" y="216536"/>
                    <a:pt x="274218" y="138474"/>
                  </a:cubicBezTo>
                  <a:cubicBezTo>
                    <a:pt x="281832" y="98492"/>
                    <a:pt x="289446" y="92780"/>
                    <a:pt x="328468" y="102300"/>
                  </a:cubicBezTo>
                  <a:cubicBezTo>
                    <a:pt x="402704" y="119435"/>
                    <a:pt x="465519" y="93732"/>
                    <a:pt x="505492" y="28998"/>
                  </a:cubicBezTo>
                  <a:cubicBezTo>
                    <a:pt x="527383" y="-6225"/>
                    <a:pt x="537852" y="-8129"/>
                    <a:pt x="573066" y="16623"/>
                  </a:cubicBezTo>
                  <a:cubicBezTo>
                    <a:pt x="633026" y="59461"/>
                    <a:pt x="701552" y="59461"/>
                    <a:pt x="761512" y="16623"/>
                  </a:cubicBezTo>
                  <a:cubicBezTo>
                    <a:pt x="796727" y="-8129"/>
                    <a:pt x="806244" y="-6225"/>
                    <a:pt x="829086" y="28998"/>
                  </a:cubicBezTo>
                  <a:cubicBezTo>
                    <a:pt x="869059" y="93732"/>
                    <a:pt x="931875" y="119435"/>
                    <a:pt x="1006111" y="101348"/>
                  </a:cubicBezTo>
                  <a:cubicBezTo>
                    <a:pt x="1045132" y="91828"/>
                    <a:pt x="1053698" y="97540"/>
                    <a:pt x="1060360" y="137522"/>
                  </a:cubicBezTo>
                  <a:cubicBezTo>
                    <a:pt x="1072733" y="213680"/>
                    <a:pt x="1122224" y="263182"/>
                    <a:pt x="1199315" y="273654"/>
                  </a:cubicBezTo>
                  <a:cubicBezTo>
                    <a:pt x="1222157" y="279365"/>
                    <a:pt x="1238337" y="286029"/>
                    <a:pt x="1238337" y="313636"/>
                  </a:cubicBezTo>
                  <a:close/>
                  <a:moveTo>
                    <a:pt x="666337" y="1156126"/>
                  </a:moveTo>
                  <a:cubicBezTo>
                    <a:pt x="933778" y="1157078"/>
                    <a:pt x="1151728" y="940982"/>
                    <a:pt x="1152680" y="673479"/>
                  </a:cubicBezTo>
                  <a:cubicBezTo>
                    <a:pt x="1153631" y="403121"/>
                    <a:pt x="938537" y="184169"/>
                    <a:pt x="670145" y="183217"/>
                  </a:cubicBezTo>
                  <a:cubicBezTo>
                    <a:pt x="399849" y="182265"/>
                    <a:pt x="182851" y="397409"/>
                    <a:pt x="181899" y="667768"/>
                  </a:cubicBezTo>
                  <a:cubicBezTo>
                    <a:pt x="179996" y="937174"/>
                    <a:pt x="396042" y="1155174"/>
                    <a:pt x="666337" y="1156126"/>
                  </a:cubicBezTo>
                  <a:close/>
                </a:path>
              </a:pathLst>
            </a:custGeom>
            <a:solidFill>
              <a:srgbClr val="F58220"/>
            </a:solidFill>
            <a:ln w="9514" cap="flat">
              <a:noFill/>
              <a:prstDash val="solid"/>
              <a:miter/>
            </a:ln>
          </p:spPr>
          <p:txBody>
            <a:bodyPr rtlCol="0" anchor="ctr"/>
            <a:lstStyle/>
            <a:p>
              <a:endParaRPr lang="en-US"/>
            </a:p>
          </p:txBody>
        </p:sp>
        <p:grpSp>
          <p:nvGrpSpPr>
            <p:cNvPr id="27" name="Graphic 2">
              <a:extLst>
                <a:ext uri="{FF2B5EF4-FFF2-40B4-BE49-F238E27FC236}">
                  <a16:creationId xmlns:a16="http://schemas.microsoft.com/office/drawing/2014/main" id="{023C8E29-1CFD-9001-24A7-335253A9CA25}"/>
                </a:ext>
              </a:extLst>
            </p:cNvPr>
            <p:cNvGrpSpPr/>
            <p:nvPr/>
          </p:nvGrpSpPr>
          <p:grpSpPr>
            <a:xfrm>
              <a:off x="-4712685" y="3328877"/>
              <a:ext cx="3646852" cy="3163039"/>
              <a:chOff x="3595127" y="1330866"/>
              <a:chExt cx="3646852" cy="3163039"/>
            </a:xfrm>
            <a:grpFill/>
          </p:grpSpPr>
          <p:sp>
            <p:nvSpPr>
              <p:cNvPr id="28" name="Freeform 6">
                <a:extLst>
                  <a:ext uri="{FF2B5EF4-FFF2-40B4-BE49-F238E27FC236}">
                    <a16:creationId xmlns:a16="http://schemas.microsoft.com/office/drawing/2014/main" id="{9B166423-1681-87BA-0FC7-43A0B150E3E3}"/>
                  </a:ext>
                </a:extLst>
              </p:cNvPr>
              <p:cNvSpPr/>
              <p:nvPr/>
            </p:nvSpPr>
            <p:spPr>
              <a:xfrm>
                <a:off x="3595127" y="1330866"/>
                <a:ext cx="3646852" cy="3163039"/>
              </a:xfrm>
              <a:custGeom>
                <a:avLst/>
                <a:gdLst>
                  <a:gd name="connsiteX0" fmla="*/ 0 w 3646852"/>
                  <a:gd name="connsiteY0" fmla="*/ 263695 h 3163039"/>
                  <a:gd name="connsiteX1" fmla="*/ 3807 w 3646852"/>
                  <a:gd name="connsiteY1" fmla="*/ 254175 h 3163039"/>
                  <a:gd name="connsiteX2" fmla="*/ 339773 w 3646852"/>
                  <a:gd name="connsiteY2" fmla="*/ 0 h 3163039"/>
                  <a:gd name="connsiteX3" fmla="*/ 3324449 w 3646852"/>
                  <a:gd name="connsiteY3" fmla="*/ 0 h 3163039"/>
                  <a:gd name="connsiteX4" fmla="*/ 3635670 w 3646852"/>
                  <a:gd name="connsiteY4" fmla="*/ 225616 h 3163039"/>
                  <a:gd name="connsiteX5" fmla="*/ 3646139 w 3646852"/>
                  <a:gd name="connsiteY5" fmla="*/ 313197 h 3163039"/>
                  <a:gd name="connsiteX6" fmla="*/ 3646139 w 3646852"/>
                  <a:gd name="connsiteY6" fmla="*/ 2483680 h 3163039"/>
                  <a:gd name="connsiteX7" fmla="*/ 3331111 w 3646852"/>
                  <a:gd name="connsiteY7" fmla="*/ 2798781 h 3163039"/>
                  <a:gd name="connsiteX8" fmla="*/ 2782905 w 3646852"/>
                  <a:gd name="connsiteY8" fmla="*/ 2798781 h 3163039"/>
                  <a:gd name="connsiteX9" fmla="*/ 2734366 w 3646852"/>
                  <a:gd name="connsiteY9" fmla="*/ 2798781 h 3163039"/>
                  <a:gd name="connsiteX10" fmla="*/ 2734366 w 3646852"/>
                  <a:gd name="connsiteY10" fmla="*/ 2834004 h 3163039"/>
                  <a:gd name="connsiteX11" fmla="*/ 2734366 w 3646852"/>
                  <a:gd name="connsiteY11" fmla="*/ 3087227 h 3163039"/>
                  <a:gd name="connsiteX12" fmla="*/ 2694393 w 3646852"/>
                  <a:gd name="connsiteY12" fmla="*/ 3158625 h 3163039"/>
                  <a:gd name="connsiteX13" fmla="*/ 2619205 w 3646852"/>
                  <a:gd name="connsiteY13" fmla="*/ 3132922 h 3163039"/>
                  <a:gd name="connsiteX14" fmla="*/ 2432663 w 3646852"/>
                  <a:gd name="connsiteY14" fmla="*/ 2942528 h 3163039"/>
                  <a:gd name="connsiteX15" fmla="*/ 2261348 w 3646852"/>
                  <a:gd name="connsiteY15" fmla="*/ 3114834 h 3163039"/>
                  <a:gd name="connsiteX16" fmla="*/ 2233748 w 3646852"/>
                  <a:gd name="connsiteY16" fmla="*/ 3142441 h 3163039"/>
                  <a:gd name="connsiteX17" fmla="*/ 2165222 w 3646852"/>
                  <a:gd name="connsiteY17" fmla="*/ 3157673 h 3163039"/>
                  <a:gd name="connsiteX18" fmla="*/ 2128104 w 3646852"/>
                  <a:gd name="connsiteY18" fmla="*/ 3098651 h 3163039"/>
                  <a:gd name="connsiteX19" fmla="*/ 2128104 w 3646852"/>
                  <a:gd name="connsiteY19" fmla="*/ 2841620 h 3163039"/>
                  <a:gd name="connsiteX20" fmla="*/ 2128104 w 3646852"/>
                  <a:gd name="connsiteY20" fmla="*/ 2797829 h 3163039"/>
                  <a:gd name="connsiteX21" fmla="*/ 2079565 w 3646852"/>
                  <a:gd name="connsiteY21" fmla="*/ 2797829 h 3163039"/>
                  <a:gd name="connsiteX22" fmla="*/ 370229 w 3646852"/>
                  <a:gd name="connsiteY22" fmla="*/ 2799733 h 3163039"/>
                  <a:gd name="connsiteX23" fmla="*/ 0 w 3646852"/>
                  <a:gd name="connsiteY23" fmla="*/ 2536039 h 3163039"/>
                  <a:gd name="connsiteX24" fmla="*/ 0 w 3646852"/>
                  <a:gd name="connsiteY24" fmla="*/ 263695 h 3163039"/>
                  <a:gd name="connsiteX25" fmla="*/ 2129056 w 3646852"/>
                  <a:gd name="connsiteY25" fmla="*/ 2677882 h 3163039"/>
                  <a:gd name="connsiteX26" fmla="*/ 2129056 w 3646852"/>
                  <a:gd name="connsiteY26" fmla="*/ 2628379 h 3163039"/>
                  <a:gd name="connsiteX27" fmla="*/ 2128104 w 3646852"/>
                  <a:gd name="connsiteY27" fmla="*/ 1937252 h 3163039"/>
                  <a:gd name="connsiteX28" fmla="*/ 2103358 w 3646852"/>
                  <a:gd name="connsiteY28" fmla="*/ 1588832 h 3163039"/>
                  <a:gd name="connsiteX29" fmla="*/ 2058626 w 3646852"/>
                  <a:gd name="connsiteY29" fmla="*/ 1546946 h 3163039"/>
                  <a:gd name="connsiteX30" fmla="*/ 1928237 w 3646852"/>
                  <a:gd name="connsiteY30" fmla="*/ 1352744 h 3163039"/>
                  <a:gd name="connsiteX31" fmla="*/ 1904444 w 3646852"/>
                  <a:gd name="connsiteY31" fmla="*/ 1294674 h 3163039"/>
                  <a:gd name="connsiteX32" fmla="*/ 1859711 w 3646852"/>
                  <a:gd name="connsiteY32" fmla="*/ 1065250 h 3163039"/>
                  <a:gd name="connsiteX33" fmla="*/ 1858760 w 3646852"/>
                  <a:gd name="connsiteY33" fmla="*/ 1002421 h 3163039"/>
                  <a:gd name="connsiteX34" fmla="*/ 1905395 w 3646852"/>
                  <a:gd name="connsiteY34" fmla="*/ 772997 h 3163039"/>
                  <a:gd name="connsiteX35" fmla="*/ 1929189 w 3646852"/>
                  <a:gd name="connsiteY35" fmla="*/ 717783 h 3163039"/>
                  <a:gd name="connsiteX36" fmla="*/ 2063385 w 3646852"/>
                  <a:gd name="connsiteY36" fmla="*/ 519774 h 3163039"/>
                  <a:gd name="connsiteX37" fmla="*/ 2102407 w 3646852"/>
                  <a:gd name="connsiteY37" fmla="*/ 481695 h 3163039"/>
                  <a:gd name="connsiteX38" fmla="*/ 2299418 w 3646852"/>
                  <a:gd name="connsiteY38" fmla="*/ 347468 h 3163039"/>
                  <a:gd name="connsiteX39" fmla="*/ 2354619 w 3646852"/>
                  <a:gd name="connsiteY39" fmla="*/ 323669 h 3163039"/>
                  <a:gd name="connsiteX40" fmla="*/ 2583990 w 3646852"/>
                  <a:gd name="connsiteY40" fmla="*/ 277022 h 3163039"/>
                  <a:gd name="connsiteX41" fmla="*/ 2646805 w 3646852"/>
                  <a:gd name="connsiteY41" fmla="*/ 277974 h 3163039"/>
                  <a:gd name="connsiteX42" fmla="*/ 2876176 w 3646852"/>
                  <a:gd name="connsiteY42" fmla="*/ 323669 h 3163039"/>
                  <a:gd name="connsiteX43" fmla="*/ 2935184 w 3646852"/>
                  <a:gd name="connsiteY43" fmla="*/ 347468 h 3163039"/>
                  <a:gd name="connsiteX44" fmla="*/ 3129341 w 3646852"/>
                  <a:gd name="connsiteY44" fmla="*/ 477887 h 3163039"/>
                  <a:gd name="connsiteX45" fmla="*/ 3171217 w 3646852"/>
                  <a:gd name="connsiteY45" fmla="*/ 520726 h 3163039"/>
                  <a:gd name="connsiteX46" fmla="*/ 3302558 w 3646852"/>
                  <a:gd name="connsiteY46" fmla="*/ 716831 h 3163039"/>
                  <a:gd name="connsiteX47" fmla="*/ 3325400 w 3646852"/>
                  <a:gd name="connsiteY47" fmla="*/ 772997 h 3163039"/>
                  <a:gd name="connsiteX48" fmla="*/ 3371084 w 3646852"/>
                  <a:gd name="connsiteY48" fmla="*/ 1004325 h 3163039"/>
                  <a:gd name="connsiteX49" fmla="*/ 3372036 w 3646852"/>
                  <a:gd name="connsiteY49" fmla="*/ 1064298 h 3163039"/>
                  <a:gd name="connsiteX50" fmla="*/ 3324449 w 3646852"/>
                  <a:gd name="connsiteY50" fmla="*/ 1295626 h 3163039"/>
                  <a:gd name="connsiteX51" fmla="*/ 3301606 w 3646852"/>
                  <a:gd name="connsiteY51" fmla="*/ 1348936 h 3163039"/>
                  <a:gd name="connsiteX52" fmla="*/ 3169314 w 3646852"/>
                  <a:gd name="connsiteY52" fmla="*/ 1547897 h 3163039"/>
                  <a:gd name="connsiteX53" fmla="*/ 3135051 w 3646852"/>
                  <a:gd name="connsiteY53" fmla="*/ 1567889 h 3163039"/>
                  <a:gd name="connsiteX54" fmla="*/ 3102692 w 3646852"/>
                  <a:gd name="connsiteY54" fmla="*/ 1700212 h 3163039"/>
                  <a:gd name="connsiteX55" fmla="*/ 3100788 w 3646852"/>
                  <a:gd name="connsiteY55" fmla="*/ 2444650 h 3163039"/>
                  <a:gd name="connsiteX56" fmla="*/ 3100788 w 3646852"/>
                  <a:gd name="connsiteY56" fmla="*/ 2465593 h 3163039"/>
                  <a:gd name="connsiteX57" fmla="*/ 3065574 w 3646852"/>
                  <a:gd name="connsiteY57" fmla="*/ 2547462 h 3163039"/>
                  <a:gd name="connsiteX58" fmla="*/ 2976109 w 3646852"/>
                  <a:gd name="connsiteY58" fmla="*/ 2515095 h 3163039"/>
                  <a:gd name="connsiteX59" fmla="*/ 2800037 w 3646852"/>
                  <a:gd name="connsiteY59" fmla="*/ 2338030 h 3163039"/>
                  <a:gd name="connsiteX60" fmla="*/ 2735318 w 3646852"/>
                  <a:gd name="connsiteY60" fmla="*/ 2467497 h 3163039"/>
                  <a:gd name="connsiteX61" fmla="*/ 2736269 w 3646852"/>
                  <a:gd name="connsiteY61" fmla="*/ 2674074 h 3163039"/>
                  <a:gd name="connsiteX62" fmla="*/ 2772436 w 3646852"/>
                  <a:gd name="connsiteY62" fmla="*/ 2675978 h 3163039"/>
                  <a:gd name="connsiteX63" fmla="*/ 3324449 w 3646852"/>
                  <a:gd name="connsiteY63" fmla="*/ 2675978 h 3163039"/>
                  <a:gd name="connsiteX64" fmla="*/ 3527170 w 3646852"/>
                  <a:gd name="connsiteY64" fmla="*/ 2471305 h 3163039"/>
                  <a:gd name="connsiteX65" fmla="*/ 3527170 w 3646852"/>
                  <a:gd name="connsiteY65" fmla="*/ 322717 h 3163039"/>
                  <a:gd name="connsiteX66" fmla="*/ 3322545 w 3646852"/>
                  <a:gd name="connsiteY66" fmla="*/ 119948 h 3163039"/>
                  <a:gd name="connsiteX67" fmla="*/ 326449 w 3646852"/>
                  <a:gd name="connsiteY67" fmla="*/ 119948 h 3163039"/>
                  <a:gd name="connsiteX68" fmla="*/ 120872 w 3646852"/>
                  <a:gd name="connsiteY68" fmla="*/ 324621 h 3163039"/>
                  <a:gd name="connsiteX69" fmla="*/ 120872 w 3646852"/>
                  <a:gd name="connsiteY69" fmla="*/ 2470353 h 3163039"/>
                  <a:gd name="connsiteX70" fmla="*/ 325497 w 3646852"/>
                  <a:gd name="connsiteY70" fmla="*/ 2675978 h 3163039"/>
                  <a:gd name="connsiteX71" fmla="*/ 2085275 w 3646852"/>
                  <a:gd name="connsiteY71" fmla="*/ 2675978 h 3163039"/>
                  <a:gd name="connsiteX72" fmla="*/ 2129056 w 3646852"/>
                  <a:gd name="connsiteY72" fmla="*/ 2677882 h 3163039"/>
                  <a:gd name="connsiteX73" fmla="*/ 3185494 w 3646852"/>
                  <a:gd name="connsiteY73" fmla="*/ 678752 h 3163039"/>
                  <a:gd name="connsiteX74" fmla="*/ 3146472 w 3646852"/>
                  <a:gd name="connsiteY74" fmla="*/ 640673 h 3163039"/>
                  <a:gd name="connsiteX75" fmla="*/ 3007517 w 3646852"/>
                  <a:gd name="connsiteY75" fmla="*/ 504542 h 3163039"/>
                  <a:gd name="connsiteX76" fmla="*/ 2953268 w 3646852"/>
                  <a:gd name="connsiteY76" fmla="*/ 468368 h 3163039"/>
                  <a:gd name="connsiteX77" fmla="*/ 2776243 w 3646852"/>
                  <a:gd name="connsiteY77" fmla="*/ 396018 h 3163039"/>
                  <a:gd name="connsiteX78" fmla="*/ 2708669 w 3646852"/>
                  <a:gd name="connsiteY78" fmla="*/ 383642 h 3163039"/>
                  <a:gd name="connsiteX79" fmla="*/ 2520223 w 3646852"/>
                  <a:gd name="connsiteY79" fmla="*/ 383642 h 3163039"/>
                  <a:gd name="connsiteX80" fmla="*/ 2452649 w 3646852"/>
                  <a:gd name="connsiteY80" fmla="*/ 396018 h 3163039"/>
                  <a:gd name="connsiteX81" fmla="*/ 2275624 w 3646852"/>
                  <a:gd name="connsiteY81" fmla="*/ 469319 h 3163039"/>
                  <a:gd name="connsiteX82" fmla="*/ 2221375 w 3646852"/>
                  <a:gd name="connsiteY82" fmla="*/ 505494 h 3163039"/>
                  <a:gd name="connsiteX83" fmla="*/ 2082420 w 3646852"/>
                  <a:gd name="connsiteY83" fmla="*/ 641625 h 3163039"/>
                  <a:gd name="connsiteX84" fmla="*/ 2046254 w 3646852"/>
                  <a:gd name="connsiteY84" fmla="*/ 692080 h 3163039"/>
                  <a:gd name="connsiteX85" fmla="*/ 1970114 w 3646852"/>
                  <a:gd name="connsiteY85" fmla="*/ 876761 h 3163039"/>
                  <a:gd name="connsiteX86" fmla="*/ 1957741 w 3646852"/>
                  <a:gd name="connsiteY86" fmla="*/ 934831 h 3163039"/>
                  <a:gd name="connsiteX87" fmla="*/ 1957741 w 3646852"/>
                  <a:gd name="connsiteY87" fmla="*/ 1136648 h 3163039"/>
                  <a:gd name="connsiteX88" fmla="*/ 1968211 w 3646852"/>
                  <a:gd name="connsiteY88" fmla="*/ 1192814 h 3163039"/>
                  <a:gd name="connsiteX89" fmla="*/ 2046254 w 3646852"/>
                  <a:gd name="connsiteY89" fmla="*/ 1379399 h 3163039"/>
                  <a:gd name="connsiteX90" fmla="*/ 2079565 w 3646852"/>
                  <a:gd name="connsiteY90" fmla="*/ 1428902 h 3163039"/>
                  <a:gd name="connsiteX91" fmla="*/ 2221375 w 3646852"/>
                  <a:gd name="connsiteY91" fmla="*/ 1569793 h 3163039"/>
                  <a:gd name="connsiteX92" fmla="*/ 2273721 w 3646852"/>
                  <a:gd name="connsiteY92" fmla="*/ 1604063 h 3163039"/>
                  <a:gd name="connsiteX93" fmla="*/ 2455504 w 3646852"/>
                  <a:gd name="connsiteY93" fmla="*/ 1679269 h 3163039"/>
                  <a:gd name="connsiteX94" fmla="*/ 2515465 w 3646852"/>
                  <a:gd name="connsiteY94" fmla="*/ 1692596 h 3163039"/>
                  <a:gd name="connsiteX95" fmla="*/ 2714379 w 3646852"/>
                  <a:gd name="connsiteY95" fmla="*/ 1693548 h 3163039"/>
                  <a:gd name="connsiteX96" fmla="*/ 2773387 w 3646852"/>
                  <a:gd name="connsiteY96" fmla="*/ 1682125 h 3163039"/>
                  <a:gd name="connsiteX97" fmla="*/ 2957075 w 3646852"/>
                  <a:gd name="connsiteY97" fmla="*/ 1604063 h 3163039"/>
                  <a:gd name="connsiteX98" fmla="*/ 3008469 w 3646852"/>
                  <a:gd name="connsiteY98" fmla="*/ 1568841 h 3163039"/>
                  <a:gd name="connsiteX99" fmla="*/ 3143617 w 3646852"/>
                  <a:gd name="connsiteY99" fmla="*/ 1429854 h 3163039"/>
                  <a:gd name="connsiteX100" fmla="*/ 3180735 w 3646852"/>
                  <a:gd name="connsiteY100" fmla="*/ 1372736 h 3163039"/>
                  <a:gd name="connsiteX101" fmla="*/ 3253068 w 3646852"/>
                  <a:gd name="connsiteY101" fmla="*/ 1198526 h 3163039"/>
                  <a:gd name="connsiteX102" fmla="*/ 3265440 w 3646852"/>
                  <a:gd name="connsiteY102" fmla="*/ 1129032 h 3163039"/>
                  <a:gd name="connsiteX103" fmla="*/ 3265440 w 3646852"/>
                  <a:gd name="connsiteY103" fmla="*/ 943399 h 3163039"/>
                  <a:gd name="connsiteX104" fmla="*/ 3252116 w 3646852"/>
                  <a:gd name="connsiteY104" fmla="*/ 873905 h 3163039"/>
                  <a:gd name="connsiteX105" fmla="*/ 3180735 w 3646852"/>
                  <a:gd name="connsiteY105" fmla="*/ 699695 h 3163039"/>
                  <a:gd name="connsiteX106" fmla="*/ 3185494 w 3646852"/>
                  <a:gd name="connsiteY106" fmla="*/ 678752 h 3163039"/>
                  <a:gd name="connsiteX107" fmla="*/ 2612542 w 3646852"/>
                  <a:gd name="connsiteY107" fmla="*/ 2524615 h 3163039"/>
                  <a:gd name="connsiteX108" fmla="*/ 2524030 w 3646852"/>
                  <a:gd name="connsiteY108" fmla="*/ 2547462 h 3163039"/>
                  <a:gd name="connsiteX109" fmla="*/ 2493574 w 3646852"/>
                  <a:gd name="connsiteY109" fmla="*/ 2462737 h 3163039"/>
                  <a:gd name="connsiteX110" fmla="*/ 2493574 w 3646852"/>
                  <a:gd name="connsiteY110" fmla="*/ 1864902 h 3163039"/>
                  <a:gd name="connsiteX111" fmla="*/ 2493574 w 3646852"/>
                  <a:gd name="connsiteY111" fmla="*/ 1826824 h 3163039"/>
                  <a:gd name="connsiteX112" fmla="*/ 2349861 w 3646852"/>
                  <a:gd name="connsiteY112" fmla="*/ 1741147 h 3163039"/>
                  <a:gd name="connsiteX113" fmla="*/ 2313694 w 3646852"/>
                  <a:gd name="connsiteY113" fmla="*/ 1720203 h 3163039"/>
                  <a:gd name="connsiteX114" fmla="*/ 2253734 w 3646852"/>
                  <a:gd name="connsiteY114" fmla="*/ 1731627 h 3163039"/>
                  <a:gd name="connsiteX115" fmla="*/ 2253734 w 3646852"/>
                  <a:gd name="connsiteY115" fmla="*/ 2955856 h 3163039"/>
                  <a:gd name="connsiteX116" fmla="*/ 2373654 w 3646852"/>
                  <a:gd name="connsiteY116" fmla="*/ 2833052 h 3163039"/>
                  <a:gd name="connsiteX117" fmla="*/ 2490719 w 3646852"/>
                  <a:gd name="connsiteY117" fmla="*/ 2834004 h 3163039"/>
                  <a:gd name="connsiteX118" fmla="*/ 2612542 w 3646852"/>
                  <a:gd name="connsiteY118" fmla="*/ 2959664 h 3163039"/>
                  <a:gd name="connsiteX119" fmla="*/ 2612542 w 3646852"/>
                  <a:gd name="connsiteY119" fmla="*/ 2524615 h 3163039"/>
                  <a:gd name="connsiteX120" fmla="*/ 2617301 w 3646852"/>
                  <a:gd name="connsiteY120" fmla="*/ 1785889 h 3163039"/>
                  <a:gd name="connsiteX121" fmla="*/ 2617301 w 3646852"/>
                  <a:gd name="connsiteY121" fmla="*/ 2349453 h 3163039"/>
                  <a:gd name="connsiteX122" fmla="*/ 2731511 w 3646852"/>
                  <a:gd name="connsiteY122" fmla="*/ 2230457 h 3163039"/>
                  <a:gd name="connsiteX123" fmla="*/ 2860948 w 3646852"/>
                  <a:gd name="connsiteY123" fmla="*/ 2229505 h 3163039"/>
                  <a:gd name="connsiteX124" fmla="*/ 2976109 w 3646852"/>
                  <a:gd name="connsiteY124" fmla="*/ 2346597 h 3163039"/>
                  <a:gd name="connsiteX125" fmla="*/ 2976109 w 3646852"/>
                  <a:gd name="connsiteY125" fmla="*/ 1728771 h 3163039"/>
                  <a:gd name="connsiteX126" fmla="*/ 2950412 w 3646852"/>
                  <a:gd name="connsiteY126" fmla="*/ 1724963 h 3163039"/>
                  <a:gd name="connsiteX127" fmla="*/ 2864755 w 3646852"/>
                  <a:gd name="connsiteY127" fmla="*/ 1760186 h 3163039"/>
                  <a:gd name="connsiteX128" fmla="*/ 2741980 w 3646852"/>
                  <a:gd name="connsiteY128" fmla="*/ 1823016 h 3163039"/>
                  <a:gd name="connsiteX129" fmla="*/ 2617301 w 3646852"/>
                  <a:gd name="connsiteY129" fmla="*/ 1785889 h 316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3646852" h="3163039">
                    <a:moveTo>
                      <a:pt x="0" y="263695"/>
                    </a:moveTo>
                    <a:cubicBezTo>
                      <a:pt x="1904" y="260839"/>
                      <a:pt x="2855" y="257983"/>
                      <a:pt x="3807" y="254175"/>
                    </a:cubicBezTo>
                    <a:cubicBezTo>
                      <a:pt x="55201" y="75205"/>
                      <a:pt x="155135" y="0"/>
                      <a:pt x="339773" y="0"/>
                    </a:cubicBezTo>
                    <a:cubicBezTo>
                      <a:pt x="1334348" y="0"/>
                      <a:pt x="2329874" y="0"/>
                      <a:pt x="3324449" y="0"/>
                    </a:cubicBezTo>
                    <a:cubicBezTo>
                      <a:pt x="3479583" y="0"/>
                      <a:pt x="3598551" y="85677"/>
                      <a:pt x="3635670" y="225616"/>
                    </a:cubicBezTo>
                    <a:cubicBezTo>
                      <a:pt x="3643283" y="254175"/>
                      <a:pt x="3646139" y="284638"/>
                      <a:pt x="3646139" y="313197"/>
                    </a:cubicBezTo>
                    <a:cubicBezTo>
                      <a:pt x="3647090" y="1036691"/>
                      <a:pt x="3647090" y="1760186"/>
                      <a:pt x="3646139" y="2483680"/>
                    </a:cubicBezTo>
                    <a:cubicBezTo>
                      <a:pt x="3646139" y="2666458"/>
                      <a:pt x="3515749" y="2796877"/>
                      <a:pt x="3331111" y="2798781"/>
                    </a:cubicBezTo>
                    <a:cubicBezTo>
                      <a:pt x="3148376" y="2799733"/>
                      <a:pt x="2965640" y="2798781"/>
                      <a:pt x="2782905" y="2798781"/>
                    </a:cubicBezTo>
                    <a:cubicBezTo>
                      <a:pt x="2768629" y="2798781"/>
                      <a:pt x="2754353" y="2798781"/>
                      <a:pt x="2734366" y="2798781"/>
                    </a:cubicBezTo>
                    <a:cubicBezTo>
                      <a:pt x="2734366" y="2811157"/>
                      <a:pt x="2734366" y="2822581"/>
                      <a:pt x="2734366" y="2834004"/>
                    </a:cubicBezTo>
                    <a:cubicBezTo>
                      <a:pt x="2734366" y="2918729"/>
                      <a:pt x="2733414" y="3002502"/>
                      <a:pt x="2734366" y="3087227"/>
                    </a:cubicBezTo>
                    <a:cubicBezTo>
                      <a:pt x="2734366" y="3119594"/>
                      <a:pt x="2726752" y="3146249"/>
                      <a:pt x="2694393" y="3158625"/>
                    </a:cubicBezTo>
                    <a:cubicBezTo>
                      <a:pt x="2662033" y="3171000"/>
                      <a:pt x="2640143" y="3154817"/>
                      <a:pt x="2619205" y="3132922"/>
                    </a:cubicBezTo>
                    <a:cubicBezTo>
                      <a:pt x="2558293" y="3070092"/>
                      <a:pt x="2496430" y="3007262"/>
                      <a:pt x="2432663" y="2942528"/>
                    </a:cubicBezTo>
                    <a:cubicBezTo>
                      <a:pt x="2372703" y="3002502"/>
                      <a:pt x="2317501" y="3058668"/>
                      <a:pt x="2261348" y="3114834"/>
                    </a:cubicBezTo>
                    <a:cubicBezTo>
                      <a:pt x="2251831" y="3124354"/>
                      <a:pt x="2243265" y="3133873"/>
                      <a:pt x="2233748" y="3142441"/>
                    </a:cubicBezTo>
                    <a:cubicBezTo>
                      <a:pt x="2213761" y="3161481"/>
                      <a:pt x="2191871" y="3169096"/>
                      <a:pt x="2165222" y="3157673"/>
                    </a:cubicBezTo>
                    <a:cubicBezTo>
                      <a:pt x="2139525" y="3146249"/>
                      <a:pt x="2128104" y="3126258"/>
                      <a:pt x="2128104" y="3098651"/>
                    </a:cubicBezTo>
                    <a:cubicBezTo>
                      <a:pt x="2128104" y="3012974"/>
                      <a:pt x="2128104" y="2927297"/>
                      <a:pt x="2128104" y="2841620"/>
                    </a:cubicBezTo>
                    <a:cubicBezTo>
                      <a:pt x="2128104" y="2829244"/>
                      <a:pt x="2128104" y="2815917"/>
                      <a:pt x="2128104" y="2797829"/>
                    </a:cubicBezTo>
                    <a:cubicBezTo>
                      <a:pt x="2110021" y="2797829"/>
                      <a:pt x="2094793" y="2797829"/>
                      <a:pt x="2079565" y="2797829"/>
                    </a:cubicBezTo>
                    <a:cubicBezTo>
                      <a:pt x="1509469" y="2797829"/>
                      <a:pt x="939373" y="2794974"/>
                      <a:pt x="370229" y="2799733"/>
                    </a:cubicBezTo>
                    <a:cubicBezTo>
                      <a:pt x="188446" y="2801637"/>
                      <a:pt x="43780" y="2731192"/>
                      <a:pt x="0" y="2536039"/>
                    </a:cubicBezTo>
                    <a:cubicBezTo>
                      <a:pt x="0" y="1779225"/>
                      <a:pt x="0" y="1021460"/>
                      <a:pt x="0" y="263695"/>
                    </a:cubicBezTo>
                    <a:close/>
                    <a:moveTo>
                      <a:pt x="2129056" y="2677882"/>
                    </a:moveTo>
                    <a:cubicBezTo>
                      <a:pt x="2129056" y="2656938"/>
                      <a:pt x="2129056" y="2642659"/>
                      <a:pt x="2129056" y="2628379"/>
                    </a:cubicBezTo>
                    <a:cubicBezTo>
                      <a:pt x="2129056" y="2398003"/>
                      <a:pt x="2130959" y="2167627"/>
                      <a:pt x="2128104" y="1937252"/>
                    </a:cubicBezTo>
                    <a:cubicBezTo>
                      <a:pt x="2126200" y="1821112"/>
                      <a:pt x="2147139" y="1703068"/>
                      <a:pt x="2103358" y="1588832"/>
                    </a:cubicBezTo>
                    <a:cubicBezTo>
                      <a:pt x="2093841" y="1564081"/>
                      <a:pt x="2084323" y="1550753"/>
                      <a:pt x="2058626" y="1546946"/>
                    </a:cubicBezTo>
                    <a:cubicBezTo>
                      <a:pt x="1959645" y="1532666"/>
                      <a:pt x="1903492" y="1449845"/>
                      <a:pt x="1928237" y="1352744"/>
                    </a:cubicBezTo>
                    <a:cubicBezTo>
                      <a:pt x="1934900" y="1325137"/>
                      <a:pt x="1929189" y="1309906"/>
                      <a:pt x="1904444" y="1294674"/>
                    </a:cubicBezTo>
                    <a:cubicBezTo>
                      <a:pt x="1818786" y="1244220"/>
                      <a:pt x="1799752" y="1146168"/>
                      <a:pt x="1859711" y="1065250"/>
                    </a:cubicBezTo>
                    <a:cubicBezTo>
                      <a:pt x="1876843" y="1041451"/>
                      <a:pt x="1875891" y="1025268"/>
                      <a:pt x="1858760" y="1002421"/>
                    </a:cubicBezTo>
                    <a:cubicBezTo>
                      <a:pt x="1798800" y="921503"/>
                      <a:pt x="1818786" y="825355"/>
                      <a:pt x="1905395" y="772997"/>
                    </a:cubicBezTo>
                    <a:cubicBezTo>
                      <a:pt x="1928237" y="758717"/>
                      <a:pt x="1935851" y="744438"/>
                      <a:pt x="1929189" y="717783"/>
                    </a:cubicBezTo>
                    <a:cubicBezTo>
                      <a:pt x="1904444" y="615922"/>
                      <a:pt x="1958693" y="535957"/>
                      <a:pt x="2063385" y="519774"/>
                    </a:cubicBezTo>
                    <a:cubicBezTo>
                      <a:pt x="2087179" y="515966"/>
                      <a:pt x="2098600" y="504542"/>
                      <a:pt x="2102407" y="481695"/>
                    </a:cubicBezTo>
                    <a:cubicBezTo>
                      <a:pt x="2119538" y="376027"/>
                      <a:pt x="2195678" y="323669"/>
                      <a:pt x="2299418" y="347468"/>
                    </a:cubicBezTo>
                    <a:cubicBezTo>
                      <a:pt x="2325115" y="353180"/>
                      <a:pt x="2341295" y="347468"/>
                      <a:pt x="2354619" y="323669"/>
                    </a:cubicBezTo>
                    <a:cubicBezTo>
                      <a:pt x="2406014" y="237040"/>
                      <a:pt x="2504043" y="217048"/>
                      <a:pt x="2583990" y="277022"/>
                    </a:cubicBezTo>
                    <a:cubicBezTo>
                      <a:pt x="2606832" y="294158"/>
                      <a:pt x="2623964" y="295110"/>
                      <a:pt x="2646805" y="277974"/>
                    </a:cubicBezTo>
                    <a:cubicBezTo>
                      <a:pt x="2726752" y="218000"/>
                      <a:pt x="2823830" y="237040"/>
                      <a:pt x="2876176" y="323669"/>
                    </a:cubicBezTo>
                    <a:cubicBezTo>
                      <a:pt x="2891404" y="348420"/>
                      <a:pt x="2907584" y="354132"/>
                      <a:pt x="2935184" y="347468"/>
                    </a:cubicBezTo>
                    <a:cubicBezTo>
                      <a:pt x="3032262" y="323669"/>
                      <a:pt x="3116016" y="379835"/>
                      <a:pt x="3129341" y="477887"/>
                    </a:cubicBezTo>
                    <a:cubicBezTo>
                      <a:pt x="3133148" y="504542"/>
                      <a:pt x="3143617" y="516918"/>
                      <a:pt x="3171217" y="520726"/>
                    </a:cubicBezTo>
                    <a:cubicBezTo>
                      <a:pt x="3272103" y="535005"/>
                      <a:pt x="3326352" y="616874"/>
                      <a:pt x="3302558" y="716831"/>
                    </a:cubicBezTo>
                    <a:cubicBezTo>
                      <a:pt x="3296848" y="742534"/>
                      <a:pt x="3302558" y="758717"/>
                      <a:pt x="3325400" y="772997"/>
                    </a:cubicBezTo>
                    <a:cubicBezTo>
                      <a:pt x="3413912" y="826307"/>
                      <a:pt x="3431996" y="920552"/>
                      <a:pt x="3371084" y="1004325"/>
                    </a:cubicBezTo>
                    <a:cubicBezTo>
                      <a:pt x="3354904" y="1026220"/>
                      <a:pt x="3355856" y="1042403"/>
                      <a:pt x="3372036" y="1064298"/>
                    </a:cubicBezTo>
                    <a:cubicBezTo>
                      <a:pt x="3432947" y="1146168"/>
                      <a:pt x="3413912" y="1242316"/>
                      <a:pt x="3324449" y="1295626"/>
                    </a:cubicBezTo>
                    <a:cubicBezTo>
                      <a:pt x="3302558" y="1308954"/>
                      <a:pt x="3295896" y="1324185"/>
                      <a:pt x="3301606" y="1348936"/>
                    </a:cubicBezTo>
                    <a:cubicBezTo>
                      <a:pt x="3325400" y="1454605"/>
                      <a:pt x="3274958" y="1528858"/>
                      <a:pt x="3169314" y="1547897"/>
                    </a:cubicBezTo>
                    <a:cubicBezTo>
                      <a:pt x="3156941" y="1549801"/>
                      <a:pt x="3137906" y="1558369"/>
                      <a:pt x="3135051" y="1567889"/>
                    </a:cubicBezTo>
                    <a:cubicBezTo>
                      <a:pt x="3121726" y="1611679"/>
                      <a:pt x="3103643" y="1655470"/>
                      <a:pt x="3102692" y="1700212"/>
                    </a:cubicBezTo>
                    <a:cubicBezTo>
                      <a:pt x="3099836" y="1948675"/>
                      <a:pt x="3100788" y="2197139"/>
                      <a:pt x="3100788" y="2444650"/>
                    </a:cubicBezTo>
                    <a:cubicBezTo>
                      <a:pt x="3100788" y="2451314"/>
                      <a:pt x="3100788" y="2458929"/>
                      <a:pt x="3100788" y="2465593"/>
                    </a:cubicBezTo>
                    <a:cubicBezTo>
                      <a:pt x="3102692" y="2498912"/>
                      <a:pt x="3101740" y="2532231"/>
                      <a:pt x="3065574" y="2547462"/>
                    </a:cubicBezTo>
                    <a:cubicBezTo>
                      <a:pt x="3026552" y="2564598"/>
                      <a:pt x="3000855" y="2540798"/>
                      <a:pt x="2976109" y="2515095"/>
                    </a:cubicBezTo>
                    <a:cubicBezTo>
                      <a:pt x="2917101" y="2455121"/>
                      <a:pt x="2857141" y="2396099"/>
                      <a:pt x="2800037" y="2338030"/>
                    </a:cubicBezTo>
                    <a:cubicBezTo>
                      <a:pt x="2748642" y="2368492"/>
                      <a:pt x="2731511" y="2410379"/>
                      <a:pt x="2735318" y="2467497"/>
                    </a:cubicBezTo>
                    <a:cubicBezTo>
                      <a:pt x="2740076" y="2535087"/>
                      <a:pt x="2736269" y="2604580"/>
                      <a:pt x="2736269" y="2674074"/>
                    </a:cubicBezTo>
                    <a:cubicBezTo>
                      <a:pt x="2751497" y="2675026"/>
                      <a:pt x="2761967" y="2675978"/>
                      <a:pt x="2772436" y="2675978"/>
                    </a:cubicBezTo>
                    <a:cubicBezTo>
                      <a:pt x="2956123" y="2675978"/>
                      <a:pt x="3140761" y="2675978"/>
                      <a:pt x="3324449" y="2675978"/>
                    </a:cubicBezTo>
                    <a:cubicBezTo>
                      <a:pt x="3452934" y="2675978"/>
                      <a:pt x="3527170" y="2600772"/>
                      <a:pt x="3527170" y="2471305"/>
                    </a:cubicBezTo>
                    <a:cubicBezTo>
                      <a:pt x="3527170" y="1755426"/>
                      <a:pt x="3527170" y="1038595"/>
                      <a:pt x="3527170" y="322717"/>
                    </a:cubicBezTo>
                    <a:cubicBezTo>
                      <a:pt x="3527170" y="194201"/>
                      <a:pt x="3452934" y="119948"/>
                      <a:pt x="3322545" y="119948"/>
                    </a:cubicBezTo>
                    <a:cubicBezTo>
                      <a:pt x="2324164" y="119948"/>
                      <a:pt x="1325782" y="119948"/>
                      <a:pt x="326449" y="119948"/>
                    </a:cubicBezTo>
                    <a:cubicBezTo>
                      <a:pt x="195108" y="119948"/>
                      <a:pt x="120872" y="193249"/>
                      <a:pt x="120872" y="324621"/>
                    </a:cubicBezTo>
                    <a:cubicBezTo>
                      <a:pt x="120872" y="1039547"/>
                      <a:pt x="120872" y="1754474"/>
                      <a:pt x="120872" y="2470353"/>
                    </a:cubicBezTo>
                    <a:cubicBezTo>
                      <a:pt x="120872" y="2601724"/>
                      <a:pt x="194156" y="2675978"/>
                      <a:pt x="325497" y="2675978"/>
                    </a:cubicBezTo>
                    <a:cubicBezTo>
                      <a:pt x="911773" y="2675978"/>
                      <a:pt x="1499000" y="2675978"/>
                      <a:pt x="2085275" y="2675978"/>
                    </a:cubicBezTo>
                    <a:cubicBezTo>
                      <a:pt x="2098600" y="2677882"/>
                      <a:pt x="2110973" y="2677882"/>
                      <a:pt x="2129056" y="2677882"/>
                    </a:cubicBezTo>
                    <a:close/>
                    <a:moveTo>
                      <a:pt x="3185494" y="678752"/>
                    </a:moveTo>
                    <a:cubicBezTo>
                      <a:pt x="3185494" y="651145"/>
                      <a:pt x="3169314" y="644481"/>
                      <a:pt x="3146472" y="640673"/>
                    </a:cubicBezTo>
                    <a:cubicBezTo>
                      <a:pt x="3069380" y="630202"/>
                      <a:pt x="3020841" y="580700"/>
                      <a:pt x="3007517" y="504542"/>
                    </a:cubicBezTo>
                    <a:cubicBezTo>
                      <a:pt x="3000855" y="464560"/>
                      <a:pt x="2992289" y="458848"/>
                      <a:pt x="2953268" y="468368"/>
                    </a:cubicBezTo>
                    <a:cubicBezTo>
                      <a:pt x="2879031" y="485503"/>
                      <a:pt x="2816216" y="459800"/>
                      <a:pt x="2776243" y="396018"/>
                    </a:cubicBezTo>
                    <a:cubicBezTo>
                      <a:pt x="2754353" y="360795"/>
                      <a:pt x="2743884" y="358891"/>
                      <a:pt x="2708669" y="383642"/>
                    </a:cubicBezTo>
                    <a:cubicBezTo>
                      <a:pt x="2647757" y="426481"/>
                      <a:pt x="2580183" y="426481"/>
                      <a:pt x="2520223" y="383642"/>
                    </a:cubicBezTo>
                    <a:cubicBezTo>
                      <a:pt x="2485009" y="358891"/>
                      <a:pt x="2474539" y="360795"/>
                      <a:pt x="2452649" y="396018"/>
                    </a:cubicBezTo>
                    <a:cubicBezTo>
                      <a:pt x="2412676" y="460752"/>
                      <a:pt x="2349861" y="486455"/>
                      <a:pt x="2275624" y="469319"/>
                    </a:cubicBezTo>
                    <a:cubicBezTo>
                      <a:pt x="2236603" y="459800"/>
                      <a:pt x="2228037" y="465512"/>
                      <a:pt x="2221375" y="505494"/>
                    </a:cubicBezTo>
                    <a:cubicBezTo>
                      <a:pt x="2207099" y="583555"/>
                      <a:pt x="2160463" y="630202"/>
                      <a:pt x="2082420" y="641625"/>
                    </a:cubicBezTo>
                    <a:cubicBezTo>
                      <a:pt x="2048157" y="647337"/>
                      <a:pt x="2039592" y="658761"/>
                      <a:pt x="2046254" y="692080"/>
                    </a:cubicBezTo>
                    <a:cubicBezTo>
                      <a:pt x="2064337" y="778708"/>
                      <a:pt x="2043399" y="830115"/>
                      <a:pt x="1970114" y="876761"/>
                    </a:cubicBezTo>
                    <a:cubicBezTo>
                      <a:pt x="1944417" y="892944"/>
                      <a:pt x="1939658" y="909128"/>
                      <a:pt x="1957741" y="934831"/>
                    </a:cubicBezTo>
                    <a:cubicBezTo>
                      <a:pt x="2010087" y="1008132"/>
                      <a:pt x="2010087" y="1061443"/>
                      <a:pt x="1957741" y="1136648"/>
                    </a:cubicBezTo>
                    <a:cubicBezTo>
                      <a:pt x="1941562" y="1160447"/>
                      <a:pt x="1944417" y="1176631"/>
                      <a:pt x="1968211" y="1192814"/>
                    </a:cubicBezTo>
                    <a:cubicBezTo>
                      <a:pt x="2046254" y="1245172"/>
                      <a:pt x="2065289" y="1288963"/>
                      <a:pt x="2046254" y="1379399"/>
                    </a:cubicBezTo>
                    <a:cubicBezTo>
                      <a:pt x="2040543" y="1407958"/>
                      <a:pt x="2049109" y="1423190"/>
                      <a:pt x="2079565" y="1428902"/>
                    </a:cubicBezTo>
                    <a:cubicBezTo>
                      <a:pt x="2166174" y="1444133"/>
                      <a:pt x="2207099" y="1485068"/>
                      <a:pt x="2221375" y="1569793"/>
                    </a:cubicBezTo>
                    <a:cubicBezTo>
                      <a:pt x="2227085" y="1603111"/>
                      <a:pt x="2244217" y="1610727"/>
                      <a:pt x="2273721" y="1604063"/>
                    </a:cubicBezTo>
                    <a:cubicBezTo>
                      <a:pt x="2356523" y="1585976"/>
                      <a:pt x="2410773" y="1608823"/>
                      <a:pt x="2455504" y="1679269"/>
                    </a:cubicBezTo>
                    <a:cubicBezTo>
                      <a:pt x="2474539" y="1708780"/>
                      <a:pt x="2487864" y="1711636"/>
                      <a:pt x="2515465" y="1692596"/>
                    </a:cubicBezTo>
                    <a:cubicBezTo>
                      <a:pt x="2584942" y="1643094"/>
                      <a:pt x="2643950" y="1643094"/>
                      <a:pt x="2714379" y="1693548"/>
                    </a:cubicBezTo>
                    <a:cubicBezTo>
                      <a:pt x="2739125" y="1710684"/>
                      <a:pt x="2756256" y="1708780"/>
                      <a:pt x="2773387" y="1682125"/>
                    </a:cubicBezTo>
                    <a:cubicBezTo>
                      <a:pt x="2820023" y="1607871"/>
                      <a:pt x="2871417" y="1586928"/>
                      <a:pt x="2957075" y="1604063"/>
                    </a:cubicBezTo>
                    <a:cubicBezTo>
                      <a:pt x="2991337" y="1610727"/>
                      <a:pt x="3002758" y="1603111"/>
                      <a:pt x="3008469" y="1568841"/>
                    </a:cubicBezTo>
                    <a:cubicBezTo>
                      <a:pt x="3021793" y="1489828"/>
                      <a:pt x="3065574" y="1444133"/>
                      <a:pt x="3143617" y="1429854"/>
                    </a:cubicBezTo>
                    <a:cubicBezTo>
                      <a:pt x="3185494" y="1422238"/>
                      <a:pt x="3191204" y="1413670"/>
                      <a:pt x="3180735" y="1372736"/>
                    </a:cubicBezTo>
                    <a:cubicBezTo>
                      <a:pt x="3163603" y="1300386"/>
                      <a:pt x="3190252" y="1237556"/>
                      <a:pt x="3253068" y="1198526"/>
                    </a:cubicBezTo>
                    <a:cubicBezTo>
                      <a:pt x="3290186" y="1174727"/>
                      <a:pt x="3292089" y="1167111"/>
                      <a:pt x="3265440" y="1129032"/>
                    </a:cubicBezTo>
                    <a:cubicBezTo>
                      <a:pt x="3223563" y="1070010"/>
                      <a:pt x="3223563" y="1001469"/>
                      <a:pt x="3265440" y="943399"/>
                    </a:cubicBezTo>
                    <a:cubicBezTo>
                      <a:pt x="3292089" y="906272"/>
                      <a:pt x="3290186" y="897704"/>
                      <a:pt x="3252116" y="873905"/>
                    </a:cubicBezTo>
                    <a:cubicBezTo>
                      <a:pt x="3189301" y="834875"/>
                      <a:pt x="3163603" y="771093"/>
                      <a:pt x="3180735" y="699695"/>
                    </a:cubicBezTo>
                    <a:cubicBezTo>
                      <a:pt x="3182638" y="691128"/>
                      <a:pt x="3184542" y="684464"/>
                      <a:pt x="3185494" y="678752"/>
                    </a:cubicBezTo>
                    <a:close/>
                    <a:moveTo>
                      <a:pt x="2612542" y="2524615"/>
                    </a:moveTo>
                    <a:cubicBezTo>
                      <a:pt x="2584942" y="2550318"/>
                      <a:pt x="2557341" y="2565550"/>
                      <a:pt x="2524030" y="2547462"/>
                    </a:cubicBezTo>
                    <a:cubicBezTo>
                      <a:pt x="2488816" y="2528423"/>
                      <a:pt x="2493574" y="2495104"/>
                      <a:pt x="2493574" y="2462737"/>
                    </a:cubicBezTo>
                    <a:cubicBezTo>
                      <a:pt x="2493574" y="2263776"/>
                      <a:pt x="2493574" y="2063863"/>
                      <a:pt x="2493574" y="1864902"/>
                    </a:cubicBezTo>
                    <a:cubicBezTo>
                      <a:pt x="2493574" y="1852527"/>
                      <a:pt x="2493574" y="1840151"/>
                      <a:pt x="2493574" y="1826824"/>
                    </a:cubicBezTo>
                    <a:cubicBezTo>
                      <a:pt x="2426952" y="1823016"/>
                      <a:pt x="2380317" y="1795409"/>
                      <a:pt x="2349861" y="1741147"/>
                    </a:cubicBezTo>
                    <a:cubicBezTo>
                      <a:pt x="2343199" y="1730675"/>
                      <a:pt x="2326067" y="1720203"/>
                      <a:pt x="2313694" y="1720203"/>
                    </a:cubicBezTo>
                    <a:cubicBezTo>
                      <a:pt x="2293708" y="1719251"/>
                      <a:pt x="2272769" y="1727819"/>
                      <a:pt x="2253734" y="1731627"/>
                    </a:cubicBezTo>
                    <a:cubicBezTo>
                      <a:pt x="2253734" y="2139068"/>
                      <a:pt x="2253734" y="2542702"/>
                      <a:pt x="2253734" y="2955856"/>
                    </a:cubicBezTo>
                    <a:cubicBezTo>
                      <a:pt x="2297515" y="2911113"/>
                      <a:pt x="2335584" y="2872083"/>
                      <a:pt x="2373654" y="2833052"/>
                    </a:cubicBezTo>
                    <a:cubicBezTo>
                      <a:pt x="2418386" y="2788310"/>
                      <a:pt x="2445987" y="2788310"/>
                      <a:pt x="2490719" y="2834004"/>
                    </a:cubicBezTo>
                    <a:cubicBezTo>
                      <a:pt x="2529741" y="2873035"/>
                      <a:pt x="2567811" y="2913017"/>
                      <a:pt x="2612542" y="2959664"/>
                    </a:cubicBezTo>
                    <a:cubicBezTo>
                      <a:pt x="2612542" y="2807349"/>
                      <a:pt x="2612542" y="2668362"/>
                      <a:pt x="2612542" y="2524615"/>
                    </a:cubicBezTo>
                    <a:close/>
                    <a:moveTo>
                      <a:pt x="2617301" y="1785889"/>
                    </a:moveTo>
                    <a:cubicBezTo>
                      <a:pt x="2617301" y="1965811"/>
                      <a:pt x="2617301" y="2152396"/>
                      <a:pt x="2617301" y="2349453"/>
                    </a:cubicBezTo>
                    <a:cubicBezTo>
                      <a:pt x="2660130" y="2304711"/>
                      <a:pt x="2695344" y="2267584"/>
                      <a:pt x="2731511" y="2230457"/>
                    </a:cubicBezTo>
                    <a:cubicBezTo>
                      <a:pt x="2784809" y="2176195"/>
                      <a:pt x="2807650" y="2176195"/>
                      <a:pt x="2860948" y="2229505"/>
                    </a:cubicBezTo>
                    <a:cubicBezTo>
                      <a:pt x="2898066" y="2266632"/>
                      <a:pt x="2935184" y="2303759"/>
                      <a:pt x="2976109" y="2346597"/>
                    </a:cubicBezTo>
                    <a:cubicBezTo>
                      <a:pt x="2976109" y="2135261"/>
                      <a:pt x="2976109" y="1932492"/>
                      <a:pt x="2976109" y="1728771"/>
                    </a:cubicBezTo>
                    <a:cubicBezTo>
                      <a:pt x="2966592" y="1727819"/>
                      <a:pt x="2957075" y="1727819"/>
                      <a:pt x="2950412" y="1724963"/>
                    </a:cubicBezTo>
                    <a:cubicBezTo>
                      <a:pt x="2910439" y="1709732"/>
                      <a:pt x="2886645" y="1721155"/>
                      <a:pt x="2864755" y="1760186"/>
                    </a:cubicBezTo>
                    <a:cubicBezTo>
                      <a:pt x="2839058" y="1804928"/>
                      <a:pt x="2793374" y="1829679"/>
                      <a:pt x="2741980" y="1823016"/>
                    </a:cubicBezTo>
                    <a:cubicBezTo>
                      <a:pt x="2700103" y="1818256"/>
                      <a:pt x="2660130" y="1799217"/>
                      <a:pt x="2617301" y="1785889"/>
                    </a:cubicBezTo>
                    <a:close/>
                  </a:path>
                </a:pathLst>
              </a:custGeom>
              <a:grpFill/>
              <a:ln w="9514" cap="flat">
                <a:noFill/>
                <a:prstDash val="solid"/>
                <a:miter/>
              </a:ln>
            </p:spPr>
            <p:txBody>
              <a:bodyPr rtlCol="0" anchor="ctr"/>
              <a:lstStyle/>
              <a:p>
                <a:endParaRPr lang="en-US" dirty="0"/>
              </a:p>
            </p:txBody>
          </p:sp>
          <p:sp>
            <p:nvSpPr>
              <p:cNvPr id="29" name="Freeform 7">
                <a:extLst>
                  <a:ext uri="{FF2B5EF4-FFF2-40B4-BE49-F238E27FC236}">
                    <a16:creationId xmlns:a16="http://schemas.microsoft.com/office/drawing/2014/main" id="{F5353AD4-2245-7919-C874-D5DAD9D42040}"/>
                  </a:ext>
                </a:extLst>
              </p:cNvPr>
              <p:cNvSpPr/>
              <p:nvPr/>
            </p:nvSpPr>
            <p:spPr>
              <a:xfrm>
                <a:off x="3958932" y="1816221"/>
                <a:ext cx="1519700" cy="1825688"/>
              </a:xfrm>
              <a:custGeom>
                <a:avLst/>
                <a:gdLst>
                  <a:gd name="connsiteX0" fmla="*/ 121585 w 1519700"/>
                  <a:gd name="connsiteY0" fmla="*/ 914987 h 1825688"/>
                  <a:gd name="connsiteX1" fmla="*/ 121585 w 1519700"/>
                  <a:gd name="connsiteY1" fmla="*/ 1499494 h 1825688"/>
                  <a:gd name="connsiteX2" fmla="*/ 326211 w 1519700"/>
                  <a:gd name="connsiteY2" fmla="*/ 1704167 h 1825688"/>
                  <a:gd name="connsiteX3" fmla="*/ 1419767 w 1519700"/>
                  <a:gd name="connsiteY3" fmla="*/ 1704167 h 1825688"/>
                  <a:gd name="connsiteX4" fmla="*/ 1448319 w 1519700"/>
                  <a:gd name="connsiteY4" fmla="*/ 1704167 h 1825688"/>
                  <a:gd name="connsiteX5" fmla="*/ 1519700 w 1519700"/>
                  <a:gd name="connsiteY5" fmla="*/ 1766045 h 1825688"/>
                  <a:gd name="connsiteX6" fmla="*/ 1450223 w 1519700"/>
                  <a:gd name="connsiteY6" fmla="*/ 1825067 h 1825688"/>
                  <a:gd name="connsiteX7" fmla="*/ 303369 w 1519700"/>
                  <a:gd name="connsiteY7" fmla="*/ 1824115 h 1825688"/>
                  <a:gd name="connsiteX8" fmla="*/ 714 w 1519700"/>
                  <a:gd name="connsiteY8" fmla="*/ 1516630 h 1825688"/>
                  <a:gd name="connsiteX9" fmla="*/ 714 w 1519700"/>
                  <a:gd name="connsiteY9" fmla="*/ 312392 h 1825688"/>
                  <a:gd name="connsiteX10" fmla="*/ 311935 w 1519700"/>
                  <a:gd name="connsiteY10" fmla="*/ 1099 h 1825688"/>
                  <a:gd name="connsiteX11" fmla="*/ 1384552 w 1519700"/>
                  <a:gd name="connsiteY11" fmla="*/ 1099 h 1825688"/>
                  <a:gd name="connsiteX12" fmla="*/ 1459740 w 1519700"/>
                  <a:gd name="connsiteY12" fmla="*/ 62977 h 1825688"/>
                  <a:gd name="connsiteX13" fmla="*/ 1382649 w 1519700"/>
                  <a:gd name="connsiteY13" fmla="*/ 122951 h 1825688"/>
                  <a:gd name="connsiteX14" fmla="*/ 324307 w 1519700"/>
                  <a:gd name="connsiteY14" fmla="*/ 122951 h 1825688"/>
                  <a:gd name="connsiteX15" fmla="*/ 179642 w 1519700"/>
                  <a:gd name="connsiteY15" fmla="*/ 172453 h 1825688"/>
                  <a:gd name="connsiteX16" fmla="*/ 120634 w 1519700"/>
                  <a:gd name="connsiteY16" fmla="*/ 320008 h 1825688"/>
                  <a:gd name="connsiteX17" fmla="*/ 121585 w 1519700"/>
                  <a:gd name="connsiteY17" fmla="*/ 914987 h 182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19700" h="1825688">
                    <a:moveTo>
                      <a:pt x="121585" y="914987"/>
                    </a:moveTo>
                    <a:cubicBezTo>
                      <a:pt x="121585" y="1110140"/>
                      <a:pt x="121585" y="1304341"/>
                      <a:pt x="121585" y="1499494"/>
                    </a:cubicBezTo>
                    <a:cubicBezTo>
                      <a:pt x="121585" y="1631818"/>
                      <a:pt x="193918" y="1704167"/>
                      <a:pt x="326211" y="1704167"/>
                    </a:cubicBezTo>
                    <a:cubicBezTo>
                      <a:pt x="690730" y="1704167"/>
                      <a:pt x="1055248" y="1704167"/>
                      <a:pt x="1419767" y="1704167"/>
                    </a:cubicBezTo>
                    <a:cubicBezTo>
                      <a:pt x="1429284" y="1704167"/>
                      <a:pt x="1438802" y="1704167"/>
                      <a:pt x="1448319" y="1704167"/>
                    </a:cubicBezTo>
                    <a:cubicBezTo>
                      <a:pt x="1493051" y="1705119"/>
                      <a:pt x="1519700" y="1728918"/>
                      <a:pt x="1519700" y="1766045"/>
                    </a:cubicBezTo>
                    <a:cubicBezTo>
                      <a:pt x="1518749" y="1802220"/>
                      <a:pt x="1493051" y="1825067"/>
                      <a:pt x="1450223" y="1825067"/>
                    </a:cubicBezTo>
                    <a:cubicBezTo>
                      <a:pt x="1067621" y="1825067"/>
                      <a:pt x="685019" y="1826971"/>
                      <a:pt x="303369" y="1824115"/>
                    </a:cubicBezTo>
                    <a:cubicBezTo>
                      <a:pt x="129199" y="1823163"/>
                      <a:pt x="1666" y="1690840"/>
                      <a:pt x="714" y="1516630"/>
                    </a:cubicBezTo>
                    <a:cubicBezTo>
                      <a:pt x="-238" y="1114900"/>
                      <a:pt x="-238" y="713170"/>
                      <a:pt x="714" y="312392"/>
                    </a:cubicBezTo>
                    <a:cubicBezTo>
                      <a:pt x="714" y="133423"/>
                      <a:pt x="131103" y="2051"/>
                      <a:pt x="311935" y="1099"/>
                    </a:cubicBezTo>
                    <a:cubicBezTo>
                      <a:pt x="669791" y="-805"/>
                      <a:pt x="1026696" y="147"/>
                      <a:pt x="1384552" y="1099"/>
                    </a:cubicBezTo>
                    <a:cubicBezTo>
                      <a:pt x="1432140" y="1099"/>
                      <a:pt x="1460692" y="24898"/>
                      <a:pt x="1459740" y="62977"/>
                    </a:cubicBezTo>
                    <a:cubicBezTo>
                      <a:pt x="1459740" y="101056"/>
                      <a:pt x="1432140" y="122951"/>
                      <a:pt x="1382649" y="122951"/>
                    </a:cubicBezTo>
                    <a:cubicBezTo>
                      <a:pt x="1029551" y="122951"/>
                      <a:pt x="677405" y="122951"/>
                      <a:pt x="324307" y="122951"/>
                    </a:cubicBezTo>
                    <a:cubicBezTo>
                      <a:pt x="270058" y="122951"/>
                      <a:pt x="220567" y="134374"/>
                      <a:pt x="179642" y="172453"/>
                    </a:cubicBezTo>
                    <a:cubicBezTo>
                      <a:pt x="136813" y="212436"/>
                      <a:pt x="120634" y="262890"/>
                      <a:pt x="120634" y="320008"/>
                    </a:cubicBezTo>
                    <a:cubicBezTo>
                      <a:pt x="122537" y="518969"/>
                      <a:pt x="121585" y="716978"/>
                      <a:pt x="121585" y="914987"/>
                    </a:cubicBezTo>
                    <a:close/>
                  </a:path>
                </a:pathLst>
              </a:custGeom>
              <a:grpFill/>
              <a:ln w="9514" cap="flat">
                <a:noFill/>
                <a:prstDash val="solid"/>
                <a:miter/>
              </a:ln>
            </p:spPr>
            <p:txBody>
              <a:bodyPr rtlCol="0" anchor="ctr"/>
              <a:lstStyle/>
              <a:p>
                <a:endParaRPr lang="en-US"/>
              </a:p>
            </p:txBody>
          </p:sp>
          <p:sp>
            <p:nvSpPr>
              <p:cNvPr id="30" name="Freeform 8">
                <a:extLst>
                  <a:ext uri="{FF2B5EF4-FFF2-40B4-BE49-F238E27FC236}">
                    <a16:creationId xmlns:a16="http://schemas.microsoft.com/office/drawing/2014/main" id="{2264888F-E97C-1737-1A8D-0590B94BF6DB}"/>
                  </a:ext>
                </a:extLst>
              </p:cNvPr>
              <p:cNvSpPr/>
              <p:nvPr/>
            </p:nvSpPr>
            <p:spPr>
              <a:xfrm>
                <a:off x="4263501" y="3034109"/>
                <a:ext cx="1032395" cy="364577"/>
              </a:xfrm>
              <a:custGeom>
                <a:avLst/>
                <a:gdLst>
                  <a:gd name="connsiteX0" fmla="*/ 553668 w 1032395"/>
                  <a:gd name="connsiteY0" fmla="*/ 266375 h 364577"/>
                  <a:gd name="connsiteX1" fmla="*/ 280517 w 1032395"/>
                  <a:gd name="connsiteY1" fmla="*/ 214969 h 364577"/>
                  <a:gd name="connsiteX2" fmla="*/ 90168 w 1032395"/>
                  <a:gd name="connsiteY2" fmla="*/ 357763 h 364577"/>
                  <a:gd name="connsiteX3" fmla="*/ 9269 w 1032395"/>
                  <a:gd name="connsiteY3" fmla="*/ 335868 h 364577"/>
                  <a:gd name="connsiteX4" fmla="*/ 39725 w 1032395"/>
                  <a:gd name="connsiteY4" fmla="*/ 247335 h 364577"/>
                  <a:gd name="connsiteX5" fmla="*/ 126334 w 1032395"/>
                  <a:gd name="connsiteY5" fmla="*/ 199737 h 364577"/>
                  <a:gd name="connsiteX6" fmla="*/ 198666 w 1032395"/>
                  <a:gd name="connsiteY6" fmla="*/ 71222 h 364577"/>
                  <a:gd name="connsiteX7" fmla="*/ 250061 w 1032395"/>
                  <a:gd name="connsiteY7" fmla="*/ 776 h 364577"/>
                  <a:gd name="connsiteX8" fmla="*/ 320490 w 1032395"/>
                  <a:gd name="connsiteY8" fmla="*/ 52182 h 364577"/>
                  <a:gd name="connsiteX9" fmla="*/ 418520 w 1032395"/>
                  <a:gd name="connsiteY9" fmla="*/ 170226 h 364577"/>
                  <a:gd name="connsiteX10" fmla="*/ 473721 w 1032395"/>
                  <a:gd name="connsiteY10" fmla="*/ 147379 h 364577"/>
                  <a:gd name="connsiteX11" fmla="*/ 521308 w 1032395"/>
                  <a:gd name="connsiteY11" fmla="*/ 92165 h 364577"/>
                  <a:gd name="connsiteX12" fmla="*/ 588882 w 1032395"/>
                  <a:gd name="connsiteY12" fmla="*/ 125484 h 364577"/>
                  <a:gd name="connsiteX13" fmla="*/ 656456 w 1032395"/>
                  <a:gd name="connsiteY13" fmla="*/ 177842 h 364577"/>
                  <a:gd name="connsiteX14" fmla="*/ 963870 w 1032395"/>
                  <a:gd name="connsiteY14" fmla="*/ 228296 h 364577"/>
                  <a:gd name="connsiteX15" fmla="*/ 1032396 w 1032395"/>
                  <a:gd name="connsiteY15" fmla="*/ 289222 h 364577"/>
                  <a:gd name="connsiteX16" fmla="*/ 966726 w 1032395"/>
                  <a:gd name="connsiteY16" fmla="*/ 349196 h 364577"/>
                  <a:gd name="connsiteX17" fmla="*/ 553668 w 1032395"/>
                  <a:gd name="connsiteY17" fmla="*/ 266375 h 36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2395" h="364577">
                    <a:moveTo>
                      <a:pt x="553668" y="266375"/>
                    </a:moveTo>
                    <a:cubicBezTo>
                      <a:pt x="462300" y="330157"/>
                      <a:pt x="396630" y="317781"/>
                      <a:pt x="280517" y="214969"/>
                    </a:cubicBezTo>
                    <a:cubicBezTo>
                      <a:pt x="232929" y="283510"/>
                      <a:pt x="167259" y="328252"/>
                      <a:pt x="90168" y="357763"/>
                    </a:cubicBezTo>
                    <a:cubicBezTo>
                      <a:pt x="54001" y="372043"/>
                      <a:pt x="25449" y="363475"/>
                      <a:pt x="9269" y="335868"/>
                    </a:cubicBezTo>
                    <a:cubicBezTo>
                      <a:pt x="-10718" y="303501"/>
                      <a:pt x="2607" y="266375"/>
                      <a:pt x="39725" y="247335"/>
                    </a:cubicBezTo>
                    <a:cubicBezTo>
                      <a:pt x="69229" y="232104"/>
                      <a:pt x="98733" y="216872"/>
                      <a:pt x="126334" y="199737"/>
                    </a:cubicBezTo>
                    <a:cubicBezTo>
                      <a:pt x="172969" y="170226"/>
                      <a:pt x="194860" y="125484"/>
                      <a:pt x="198666" y="71222"/>
                    </a:cubicBezTo>
                    <a:cubicBezTo>
                      <a:pt x="201522" y="27431"/>
                      <a:pt x="217701" y="6488"/>
                      <a:pt x="250061" y="776"/>
                    </a:cubicBezTo>
                    <a:cubicBezTo>
                      <a:pt x="280517" y="-3984"/>
                      <a:pt x="304310" y="13152"/>
                      <a:pt x="320490" y="52182"/>
                    </a:cubicBezTo>
                    <a:cubicBezTo>
                      <a:pt x="341428" y="101685"/>
                      <a:pt x="372836" y="141667"/>
                      <a:pt x="418520" y="170226"/>
                    </a:cubicBezTo>
                    <a:cubicBezTo>
                      <a:pt x="452783" y="192121"/>
                      <a:pt x="467059" y="186410"/>
                      <a:pt x="473721" y="147379"/>
                    </a:cubicBezTo>
                    <a:cubicBezTo>
                      <a:pt x="478480" y="118820"/>
                      <a:pt x="491804" y="97876"/>
                      <a:pt x="521308" y="92165"/>
                    </a:cubicBezTo>
                    <a:cubicBezTo>
                      <a:pt x="551764" y="85501"/>
                      <a:pt x="576510" y="96925"/>
                      <a:pt x="588882" y="125484"/>
                    </a:cubicBezTo>
                    <a:cubicBezTo>
                      <a:pt x="602207" y="155946"/>
                      <a:pt x="626952" y="170226"/>
                      <a:pt x="656456" y="177842"/>
                    </a:cubicBezTo>
                    <a:cubicBezTo>
                      <a:pt x="757341" y="204497"/>
                      <a:pt x="858226" y="230200"/>
                      <a:pt x="963870" y="228296"/>
                    </a:cubicBezTo>
                    <a:cubicBezTo>
                      <a:pt x="1004795" y="227344"/>
                      <a:pt x="1032396" y="253999"/>
                      <a:pt x="1032396" y="289222"/>
                    </a:cubicBezTo>
                    <a:cubicBezTo>
                      <a:pt x="1032396" y="323493"/>
                      <a:pt x="1004795" y="347292"/>
                      <a:pt x="966726" y="349196"/>
                    </a:cubicBezTo>
                    <a:cubicBezTo>
                      <a:pt x="849661" y="353956"/>
                      <a:pt x="656456" y="315877"/>
                      <a:pt x="553668" y="266375"/>
                    </a:cubicBezTo>
                    <a:close/>
                  </a:path>
                </a:pathLst>
              </a:custGeom>
              <a:grpFill/>
              <a:ln w="9514" cap="flat">
                <a:noFill/>
                <a:prstDash val="solid"/>
                <a:miter/>
              </a:ln>
            </p:spPr>
            <p:txBody>
              <a:bodyPr rtlCol="0" anchor="ctr"/>
              <a:lstStyle/>
              <a:p>
                <a:endParaRPr lang="en-US"/>
              </a:p>
            </p:txBody>
          </p:sp>
          <p:sp>
            <p:nvSpPr>
              <p:cNvPr id="31" name="Freeform 9">
                <a:extLst>
                  <a:ext uri="{FF2B5EF4-FFF2-40B4-BE49-F238E27FC236}">
                    <a16:creationId xmlns:a16="http://schemas.microsoft.com/office/drawing/2014/main" id="{27CA7B8F-78FA-9AB2-33B7-F484AE81BD7B}"/>
                  </a:ext>
                </a:extLst>
              </p:cNvPr>
              <p:cNvSpPr/>
              <p:nvPr/>
            </p:nvSpPr>
            <p:spPr>
              <a:xfrm>
                <a:off x="4265055" y="2670044"/>
                <a:ext cx="971860" cy="122089"/>
              </a:xfrm>
              <a:custGeom>
                <a:avLst/>
                <a:gdLst>
                  <a:gd name="connsiteX0" fmla="*/ 484540 w 971860"/>
                  <a:gd name="connsiteY0" fmla="*/ 122090 h 122089"/>
                  <a:gd name="connsiteX1" fmla="*/ 79096 w 971860"/>
                  <a:gd name="connsiteY1" fmla="*/ 122090 h 122089"/>
                  <a:gd name="connsiteX2" fmla="*/ 34364 w 971860"/>
                  <a:gd name="connsiteY2" fmla="*/ 114474 h 122089"/>
                  <a:gd name="connsiteX3" fmla="*/ 1053 w 971860"/>
                  <a:gd name="connsiteY3" fmla="*/ 50692 h 122089"/>
                  <a:gd name="connsiteX4" fmla="*/ 54351 w 971860"/>
                  <a:gd name="connsiteY4" fmla="*/ 1190 h 122089"/>
                  <a:gd name="connsiteX5" fmla="*/ 140008 w 971860"/>
                  <a:gd name="connsiteY5" fmla="*/ 238 h 122089"/>
                  <a:gd name="connsiteX6" fmla="*/ 880466 w 971860"/>
                  <a:gd name="connsiteY6" fmla="*/ 238 h 122089"/>
                  <a:gd name="connsiteX7" fmla="*/ 909018 w 971860"/>
                  <a:gd name="connsiteY7" fmla="*/ 238 h 122089"/>
                  <a:gd name="connsiteX8" fmla="*/ 971834 w 971860"/>
                  <a:gd name="connsiteY8" fmla="*/ 58308 h 122089"/>
                  <a:gd name="connsiteX9" fmla="*/ 909018 w 971860"/>
                  <a:gd name="connsiteY9" fmla="*/ 121138 h 122089"/>
                  <a:gd name="connsiteX10" fmla="*/ 706297 w 971860"/>
                  <a:gd name="connsiteY10" fmla="*/ 121138 h 122089"/>
                  <a:gd name="connsiteX11" fmla="*/ 484540 w 971860"/>
                  <a:gd name="connsiteY11" fmla="*/ 122090 h 12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1860" h="122089">
                    <a:moveTo>
                      <a:pt x="484540" y="122090"/>
                    </a:moveTo>
                    <a:cubicBezTo>
                      <a:pt x="349392" y="122090"/>
                      <a:pt x="214244" y="122090"/>
                      <a:pt x="79096" y="122090"/>
                    </a:cubicBezTo>
                    <a:cubicBezTo>
                      <a:pt x="63868" y="122090"/>
                      <a:pt x="47688" y="121138"/>
                      <a:pt x="34364" y="114474"/>
                    </a:cubicBezTo>
                    <a:cubicBezTo>
                      <a:pt x="7715" y="103050"/>
                      <a:pt x="-3706" y="79251"/>
                      <a:pt x="1053" y="50692"/>
                    </a:cubicBezTo>
                    <a:cubicBezTo>
                      <a:pt x="5811" y="22133"/>
                      <a:pt x="24846" y="4046"/>
                      <a:pt x="54351" y="1190"/>
                    </a:cubicBezTo>
                    <a:cubicBezTo>
                      <a:pt x="82903" y="-714"/>
                      <a:pt x="111455" y="238"/>
                      <a:pt x="140008" y="238"/>
                    </a:cubicBezTo>
                    <a:cubicBezTo>
                      <a:pt x="386510" y="238"/>
                      <a:pt x="633012" y="238"/>
                      <a:pt x="880466" y="238"/>
                    </a:cubicBezTo>
                    <a:cubicBezTo>
                      <a:pt x="889983" y="238"/>
                      <a:pt x="899501" y="238"/>
                      <a:pt x="909018" y="238"/>
                    </a:cubicBezTo>
                    <a:cubicBezTo>
                      <a:pt x="947088" y="2142"/>
                      <a:pt x="970882" y="24037"/>
                      <a:pt x="971834" y="58308"/>
                    </a:cubicBezTo>
                    <a:cubicBezTo>
                      <a:pt x="972785" y="94483"/>
                      <a:pt x="948040" y="120186"/>
                      <a:pt x="909018" y="121138"/>
                    </a:cubicBezTo>
                    <a:cubicBezTo>
                      <a:pt x="841445" y="122090"/>
                      <a:pt x="773871" y="121138"/>
                      <a:pt x="706297" y="121138"/>
                    </a:cubicBezTo>
                    <a:cubicBezTo>
                      <a:pt x="631109" y="122090"/>
                      <a:pt x="557824" y="122090"/>
                      <a:pt x="484540" y="122090"/>
                    </a:cubicBezTo>
                    <a:close/>
                  </a:path>
                </a:pathLst>
              </a:custGeom>
              <a:grpFill/>
              <a:ln w="9514" cap="flat">
                <a:noFill/>
                <a:prstDash val="solid"/>
                <a:miter/>
              </a:ln>
            </p:spPr>
            <p:txBody>
              <a:bodyPr rtlCol="0" anchor="ctr"/>
              <a:lstStyle/>
              <a:p>
                <a:endParaRPr lang="en-US"/>
              </a:p>
            </p:txBody>
          </p:sp>
          <p:sp>
            <p:nvSpPr>
              <p:cNvPr id="32" name="Freeform 10">
                <a:extLst>
                  <a:ext uri="{FF2B5EF4-FFF2-40B4-BE49-F238E27FC236}">
                    <a16:creationId xmlns:a16="http://schemas.microsoft.com/office/drawing/2014/main" id="{ECC44878-959F-ABF8-21F8-5EE2E24C2F49}"/>
                  </a:ext>
                </a:extLst>
              </p:cNvPr>
              <p:cNvSpPr/>
              <p:nvPr/>
            </p:nvSpPr>
            <p:spPr>
              <a:xfrm>
                <a:off x="4264094" y="2427108"/>
                <a:ext cx="971432" cy="122274"/>
              </a:xfrm>
              <a:custGeom>
                <a:avLst/>
                <a:gdLst>
                  <a:gd name="connsiteX0" fmla="*/ 485501 w 971432"/>
                  <a:gd name="connsiteY0" fmla="*/ 423 h 122274"/>
                  <a:gd name="connsiteX1" fmla="*/ 901414 w 971432"/>
                  <a:gd name="connsiteY1" fmla="*/ 423 h 122274"/>
                  <a:gd name="connsiteX2" fmla="*/ 968988 w 971432"/>
                  <a:gd name="connsiteY2" fmla="*/ 45166 h 122274"/>
                  <a:gd name="connsiteX3" fmla="*/ 925207 w 971432"/>
                  <a:gd name="connsiteY3" fmla="*/ 119419 h 122274"/>
                  <a:gd name="connsiteX4" fmla="*/ 889993 w 971432"/>
                  <a:gd name="connsiteY4" fmla="*/ 122275 h 122274"/>
                  <a:gd name="connsiteX5" fmla="*/ 81961 w 971432"/>
                  <a:gd name="connsiteY5" fmla="*/ 122275 h 122274"/>
                  <a:gd name="connsiteX6" fmla="*/ 57215 w 971432"/>
                  <a:gd name="connsiteY6" fmla="*/ 121323 h 122274"/>
                  <a:gd name="connsiteX7" fmla="*/ 110 w 971432"/>
                  <a:gd name="connsiteY7" fmla="*/ 56589 h 122274"/>
                  <a:gd name="connsiteX8" fmla="*/ 61974 w 971432"/>
                  <a:gd name="connsiteY8" fmla="*/ 423 h 122274"/>
                  <a:gd name="connsiteX9" fmla="*/ 378905 w 971432"/>
                  <a:gd name="connsiteY9" fmla="*/ 423 h 122274"/>
                  <a:gd name="connsiteX10" fmla="*/ 485501 w 971432"/>
                  <a:gd name="connsiteY10" fmla="*/ 423 h 12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1432" h="122274">
                    <a:moveTo>
                      <a:pt x="485501" y="423"/>
                    </a:moveTo>
                    <a:cubicBezTo>
                      <a:pt x="624456" y="423"/>
                      <a:pt x="763411" y="423"/>
                      <a:pt x="901414" y="423"/>
                    </a:cubicBezTo>
                    <a:cubicBezTo>
                      <a:pt x="934725" y="423"/>
                      <a:pt x="959470" y="11847"/>
                      <a:pt x="968988" y="45166"/>
                    </a:cubicBezTo>
                    <a:cubicBezTo>
                      <a:pt x="978505" y="78484"/>
                      <a:pt x="959470" y="110851"/>
                      <a:pt x="925207" y="119419"/>
                    </a:cubicBezTo>
                    <a:cubicBezTo>
                      <a:pt x="913787" y="122275"/>
                      <a:pt x="901414" y="122275"/>
                      <a:pt x="889993" y="122275"/>
                    </a:cubicBezTo>
                    <a:cubicBezTo>
                      <a:pt x="620649" y="122275"/>
                      <a:pt x="351305" y="122275"/>
                      <a:pt x="81961" y="122275"/>
                    </a:cubicBezTo>
                    <a:cubicBezTo>
                      <a:pt x="73395" y="122275"/>
                      <a:pt x="64829" y="122275"/>
                      <a:pt x="57215" y="121323"/>
                    </a:cubicBezTo>
                    <a:cubicBezTo>
                      <a:pt x="21049" y="116563"/>
                      <a:pt x="-1793" y="90860"/>
                      <a:pt x="110" y="56589"/>
                    </a:cubicBezTo>
                    <a:cubicBezTo>
                      <a:pt x="2014" y="24222"/>
                      <a:pt x="25808" y="1375"/>
                      <a:pt x="61974" y="423"/>
                    </a:cubicBezTo>
                    <a:cubicBezTo>
                      <a:pt x="167618" y="-529"/>
                      <a:pt x="273262" y="423"/>
                      <a:pt x="378905" y="423"/>
                    </a:cubicBezTo>
                    <a:cubicBezTo>
                      <a:pt x="414120" y="423"/>
                      <a:pt x="450286" y="423"/>
                      <a:pt x="485501" y="423"/>
                    </a:cubicBezTo>
                    <a:close/>
                  </a:path>
                </a:pathLst>
              </a:custGeom>
              <a:grpFill/>
              <a:ln w="9514" cap="flat">
                <a:noFill/>
                <a:prstDash val="solid"/>
                <a:miter/>
              </a:ln>
            </p:spPr>
            <p:txBody>
              <a:bodyPr rtlCol="0" anchor="ctr"/>
              <a:lstStyle/>
              <a:p>
                <a:endParaRPr lang="en-US"/>
              </a:p>
            </p:txBody>
          </p:sp>
          <p:sp>
            <p:nvSpPr>
              <p:cNvPr id="33" name="Freeform 11">
                <a:extLst>
                  <a:ext uri="{FF2B5EF4-FFF2-40B4-BE49-F238E27FC236}">
                    <a16:creationId xmlns:a16="http://schemas.microsoft.com/office/drawing/2014/main" id="{6CF95E77-91D0-B206-AEDF-6B14022D2CAF}"/>
                  </a:ext>
                </a:extLst>
              </p:cNvPr>
              <p:cNvSpPr/>
              <p:nvPr/>
            </p:nvSpPr>
            <p:spPr>
              <a:xfrm>
                <a:off x="4266005" y="2183827"/>
                <a:ext cx="970857" cy="121851"/>
              </a:xfrm>
              <a:custGeom>
                <a:avLst/>
                <a:gdLst>
                  <a:gd name="connsiteX0" fmla="*/ 486445 w 970857"/>
                  <a:gd name="connsiteY0" fmla="*/ 0 h 121851"/>
                  <a:gd name="connsiteX1" fmla="*/ 895695 w 970857"/>
                  <a:gd name="connsiteY1" fmla="*/ 0 h 121851"/>
                  <a:gd name="connsiteX2" fmla="*/ 967076 w 970857"/>
                  <a:gd name="connsiteY2" fmla="*/ 40935 h 121851"/>
                  <a:gd name="connsiteX3" fmla="*/ 925200 w 970857"/>
                  <a:gd name="connsiteY3" fmla="*/ 118044 h 121851"/>
                  <a:gd name="connsiteX4" fmla="*/ 883323 w 970857"/>
                  <a:gd name="connsiteY4" fmla="*/ 121852 h 121851"/>
                  <a:gd name="connsiteX5" fmla="*/ 86711 w 970857"/>
                  <a:gd name="connsiteY5" fmla="*/ 121852 h 121851"/>
                  <a:gd name="connsiteX6" fmla="*/ 61966 w 970857"/>
                  <a:gd name="connsiteY6" fmla="*/ 121852 h 121851"/>
                  <a:gd name="connsiteX7" fmla="*/ 103 w 970857"/>
                  <a:gd name="connsiteY7" fmla="*/ 58070 h 121851"/>
                  <a:gd name="connsiteX8" fmla="*/ 64821 w 970857"/>
                  <a:gd name="connsiteY8" fmla="*/ 952 h 121851"/>
                  <a:gd name="connsiteX9" fmla="*/ 292289 w 970857"/>
                  <a:gd name="connsiteY9" fmla="*/ 952 h 121851"/>
                  <a:gd name="connsiteX10" fmla="*/ 486445 w 970857"/>
                  <a:gd name="connsiteY10" fmla="*/ 0 h 121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0857" h="121851">
                    <a:moveTo>
                      <a:pt x="486445" y="0"/>
                    </a:moveTo>
                    <a:cubicBezTo>
                      <a:pt x="622544" y="0"/>
                      <a:pt x="759596" y="0"/>
                      <a:pt x="895695" y="0"/>
                    </a:cubicBezTo>
                    <a:cubicBezTo>
                      <a:pt x="928055" y="0"/>
                      <a:pt x="954704" y="7616"/>
                      <a:pt x="967076" y="40935"/>
                    </a:cubicBezTo>
                    <a:cubicBezTo>
                      <a:pt x="979449" y="75205"/>
                      <a:pt x="960414" y="109476"/>
                      <a:pt x="925200" y="118044"/>
                    </a:cubicBezTo>
                    <a:cubicBezTo>
                      <a:pt x="911875" y="121852"/>
                      <a:pt x="896647" y="121852"/>
                      <a:pt x="883323" y="121852"/>
                    </a:cubicBezTo>
                    <a:cubicBezTo>
                      <a:pt x="617786" y="121852"/>
                      <a:pt x="352249" y="121852"/>
                      <a:pt x="86711" y="121852"/>
                    </a:cubicBezTo>
                    <a:cubicBezTo>
                      <a:pt x="78146" y="121852"/>
                      <a:pt x="70532" y="121852"/>
                      <a:pt x="61966" y="121852"/>
                    </a:cubicBezTo>
                    <a:cubicBezTo>
                      <a:pt x="22945" y="118044"/>
                      <a:pt x="-1801" y="92341"/>
                      <a:pt x="103" y="58070"/>
                    </a:cubicBezTo>
                    <a:cubicBezTo>
                      <a:pt x="2006" y="23799"/>
                      <a:pt x="25800" y="1904"/>
                      <a:pt x="64821" y="952"/>
                    </a:cubicBezTo>
                    <a:cubicBezTo>
                      <a:pt x="140961" y="0"/>
                      <a:pt x="216149" y="952"/>
                      <a:pt x="292289" y="952"/>
                    </a:cubicBezTo>
                    <a:cubicBezTo>
                      <a:pt x="356055" y="0"/>
                      <a:pt x="420774" y="0"/>
                      <a:pt x="486445" y="0"/>
                    </a:cubicBezTo>
                    <a:close/>
                  </a:path>
                </a:pathLst>
              </a:custGeom>
              <a:grpFill/>
              <a:ln w="9514" cap="flat">
                <a:noFill/>
                <a:prstDash val="solid"/>
                <a:miter/>
              </a:ln>
            </p:spPr>
            <p:txBody>
              <a:bodyPr rtlCol="0" anchor="ctr"/>
              <a:lstStyle/>
              <a:p>
                <a:endParaRPr lang="en-US"/>
              </a:p>
            </p:txBody>
          </p:sp>
          <p:sp>
            <p:nvSpPr>
              <p:cNvPr id="34" name="Freeform 12">
                <a:extLst>
                  <a:ext uri="{FF2B5EF4-FFF2-40B4-BE49-F238E27FC236}">
                    <a16:creationId xmlns:a16="http://schemas.microsoft.com/office/drawing/2014/main" id="{8F70A7F7-A700-12C6-5E50-0E23529A6E6C}"/>
                  </a:ext>
                </a:extLst>
              </p:cNvPr>
              <p:cNvSpPr/>
              <p:nvPr/>
            </p:nvSpPr>
            <p:spPr>
              <a:xfrm>
                <a:off x="5724179" y="1879195"/>
                <a:ext cx="970796" cy="972915"/>
              </a:xfrm>
              <a:custGeom>
                <a:avLst/>
                <a:gdLst>
                  <a:gd name="connsiteX0" fmla="*/ 484442 w 970796"/>
                  <a:gd name="connsiteY0" fmla="*/ 972913 h 972915"/>
                  <a:gd name="connsiteX1" fmla="*/ 3 w 970796"/>
                  <a:gd name="connsiteY1" fmla="*/ 484554 h 972915"/>
                  <a:gd name="connsiteX2" fmla="*/ 488249 w 970796"/>
                  <a:gd name="connsiteY2" fmla="*/ 3 h 972915"/>
                  <a:gd name="connsiteX3" fmla="*/ 970784 w 970796"/>
                  <a:gd name="connsiteY3" fmla="*/ 490266 h 972915"/>
                  <a:gd name="connsiteX4" fmla="*/ 484442 w 970796"/>
                  <a:gd name="connsiteY4" fmla="*/ 972913 h 972915"/>
                  <a:gd name="connsiteX5" fmla="*/ 485394 w 970796"/>
                  <a:gd name="connsiteY5" fmla="*/ 851061 h 972915"/>
                  <a:gd name="connsiteX6" fmla="*/ 849912 w 970796"/>
                  <a:gd name="connsiteY6" fmla="*/ 487410 h 972915"/>
                  <a:gd name="connsiteX7" fmla="*/ 485394 w 970796"/>
                  <a:gd name="connsiteY7" fmla="*/ 122807 h 972915"/>
                  <a:gd name="connsiteX8" fmla="*/ 120875 w 970796"/>
                  <a:gd name="connsiteY8" fmla="*/ 487410 h 972915"/>
                  <a:gd name="connsiteX9" fmla="*/ 485394 w 970796"/>
                  <a:gd name="connsiteY9" fmla="*/ 851061 h 97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796" h="972915">
                    <a:moveTo>
                      <a:pt x="484442" y="972913"/>
                    </a:moveTo>
                    <a:cubicBezTo>
                      <a:pt x="215098" y="971961"/>
                      <a:pt x="-949" y="753961"/>
                      <a:pt x="3" y="484554"/>
                    </a:cubicBezTo>
                    <a:cubicBezTo>
                      <a:pt x="955" y="215148"/>
                      <a:pt x="218905" y="-949"/>
                      <a:pt x="488249" y="3"/>
                    </a:cubicBezTo>
                    <a:cubicBezTo>
                      <a:pt x="757593" y="955"/>
                      <a:pt x="972687" y="219907"/>
                      <a:pt x="970784" y="490266"/>
                    </a:cubicBezTo>
                    <a:cubicBezTo>
                      <a:pt x="969832" y="757768"/>
                      <a:pt x="751882" y="973865"/>
                      <a:pt x="484442" y="972913"/>
                    </a:cubicBezTo>
                    <a:close/>
                    <a:moveTo>
                      <a:pt x="485394" y="851061"/>
                    </a:moveTo>
                    <a:cubicBezTo>
                      <a:pt x="687163" y="851061"/>
                      <a:pt x="849912" y="689227"/>
                      <a:pt x="849912" y="487410"/>
                    </a:cubicBezTo>
                    <a:cubicBezTo>
                      <a:pt x="849912" y="285593"/>
                      <a:pt x="687163" y="122807"/>
                      <a:pt x="485394" y="122807"/>
                    </a:cubicBezTo>
                    <a:cubicBezTo>
                      <a:pt x="284575" y="122807"/>
                      <a:pt x="120875" y="285593"/>
                      <a:pt x="120875" y="487410"/>
                    </a:cubicBezTo>
                    <a:cubicBezTo>
                      <a:pt x="120875" y="689227"/>
                      <a:pt x="282671" y="851061"/>
                      <a:pt x="485394" y="851061"/>
                    </a:cubicBezTo>
                    <a:close/>
                  </a:path>
                </a:pathLst>
              </a:custGeom>
              <a:grpFill/>
              <a:ln w="9514" cap="flat">
                <a:noFill/>
                <a:prstDash val="solid"/>
                <a:miter/>
              </a:ln>
            </p:spPr>
            <p:txBody>
              <a:bodyPr rtlCol="0" anchor="ctr"/>
              <a:lstStyle/>
              <a:p>
                <a:endParaRPr lang="en-US"/>
              </a:p>
            </p:txBody>
          </p:sp>
        </p:grpSp>
      </p:grpSp>
      <p:grpSp>
        <p:nvGrpSpPr>
          <p:cNvPr id="35" name="Group 34">
            <a:extLst>
              <a:ext uri="{FF2B5EF4-FFF2-40B4-BE49-F238E27FC236}">
                <a16:creationId xmlns:a16="http://schemas.microsoft.com/office/drawing/2014/main" id="{AC6CB7C2-7C59-649F-96DA-06627BF589FA}"/>
              </a:ext>
            </a:extLst>
          </p:cNvPr>
          <p:cNvGrpSpPr/>
          <p:nvPr/>
        </p:nvGrpSpPr>
        <p:grpSpPr>
          <a:xfrm>
            <a:off x="1668934" y="5690435"/>
            <a:ext cx="923646" cy="923888"/>
            <a:chOff x="10376768" y="3823816"/>
            <a:chExt cx="923646" cy="923888"/>
          </a:xfrm>
          <a:solidFill>
            <a:srgbClr val="0F486D"/>
          </a:solidFill>
        </p:grpSpPr>
        <p:sp>
          <p:nvSpPr>
            <p:cNvPr id="36" name="Freeform 290">
              <a:extLst>
                <a:ext uri="{FF2B5EF4-FFF2-40B4-BE49-F238E27FC236}">
                  <a16:creationId xmlns:a16="http://schemas.microsoft.com/office/drawing/2014/main" id="{F0B39154-A2AE-2C7E-9228-B7750BF78F5C}"/>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58220"/>
            </a:solidFill>
            <a:ln w="9028" cap="flat">
              <a:noFill/>
              <a:prstDash val="solid"/>
              <a:miter/>
            </a:ln>
          </p:spPr>
          <p:txBody>
            <a:bodyPr rtlCol="0" anchor="ctr"/>
            <a:lstStyle/>
            <a:p>
              <a:endParaRPr lang="en-US"/>
            </a:p>
          </p:txBody>
        </p:sp>
        <p:grpSp>
          <p:nvGrpSpPr>
            <p:cNvPr id="37" name="Graphic 2">
              <a:extLst>
                <a:ext uri="{FF2B5EF4-FFF2-40B4-BE49-F238E27FC236}">
                  <a16:creationId xmlns:a16="http://schemas.microsoft.com/office/drawing/2014/main" id="{FB31A750-1DD9-060F-8F12-0FF499D1CF3E}"/>
                </a:ext>
              </a:extLst>
            </p:cNvPr>
            <p:cNvGrpSpPr/>
            <p:nvPr/>
          </p:nvGrpSpPr>
          <p:grpSpPr>
            <a:xfrm>
              <a:off x="10376768" y="3823816"/>
              <a:ext cx="923646" cy="923888"/>
              <a:chOff x="10376768" y="3823816"/>
              <a:chExt cx="923646" cy="923888"/>
            </a:xfrm>
            <a:grpFill/>
          </p:grpSpPr>
          <p:sp>
            <p:nvSpPr>
              <p:cNvPr id="38" name="Freeform 292">
                <a:extLst>
                  <a:ext uri="{FF2B5EF4-FFF2-40B4-BE49-F238E27FC236}">
                    <a16:creationId xmlns:a16="http://schemas.microsoft.com/office/drawing/2014/main" id="{CF8FAFFB-0859-4328-CD53-D783AD91BCE5}"/>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p>
            </p:txBody>
          </p:sp>
          <p:sp>
            <p:nvSpPr>
              <p:cNvPr id="39" name="Freeform 293">
                <a:extLst>
                  <a:ext uri="{FF2B5EF4-FFF2-40B4-BE49-F238E27FC236}">
                    <a16:creationId xmlns:a16="http://schemas.microsoft.com/office/drawing/2014/main" id="{7AFEDEEF-4807-2AC0-E3A9-A3558909A196}"/>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4" h="406494">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p>
            </p:txBody>
          </p:sp>
          <p:sp>
            <p:nvSpPr>
              <p:cNvPr id="40" name="Freeform 294">
                <a:extLst>
                  <a:ext uri="{FF2B5EF4-FFF2-40B4-BE49-F238E27FC236}">
                    <a16:creationId xmlns:a16="http://schemas.microsoft.com/office/drawing/2014/main" id="{F860A3E8-2D4B-DC4D-1786-7877965468CC}"/>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dirty="0"/>
              </a:p>
            </p:txBody>
          </p:sp>
        </p:grpSp>
      </p:grpSp>
    </p:spTree>
    <p:extLst>
      <p:ext uri="{BB962C8B-B14F-4D97-AF65-F5344CB8AC3E}">
        <p14:creationId xmlns:p14="http://schemas.microsoft.com/office/powerpoint/2010/main" val="96814367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15285" y="357249"/>
            <a:ext cx="5304135" cy="951881"/>
          </a:xfrm>
        </p:spPr>
        <p:txBody>
          <a:bodyPr/>
          <a:lstStyle/>
          <a:p>
            <a:r>
              <a:rPr lang="en-GB" sz="3200" b="1" dirty="0"/>
              <a:t>WERKZEUGE UND TECHNOLOG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711354"/>
            <a:ext cx="4939670" cy="3549099"/>
          </a:xfrm>
        </p:spPr>
        <p:txBody>
          <a:bodyPr/>
          <a:lstStyle/>
          <a:p>
            <a:pPr algn="just"/>
            <a:r>
              <a:rPr lang="en-GB" sz="2000" b="1" dirty="0"/>
              <a:t>Excel </a:t>
            </a:r>
            <a:r>
              <a:rPr lang="en-GB" sz="2000" dirty="0"/>
              <a:t>ist ein vielseitiges Werkzeug für grundlegende Datenmanipulationen und quantitative Analysen. </a:t>
            </a:r>
          </a:p>
          <a:p>
            <a:pPr algn="just"/>
            <a:endParaRPr lang="en-GB" sz="2000" dirty="0"/>
          </a:p>
          <a:p>
            <a:pPr algn="just"/>
            <a:r>
              <a:rPr lang="en-GB" sz="2000" dirty="0"/>
              <a:t>Es ermöglicht den Nutzern, Berechnungen und statistische Analysen durchzuführen, detaillierte Tabellen zu erstellen, um Nachhaltigkeitskennzahlen zu verfolgen, und Diagramme und Grafiken zu entwickeln, um Datentrends zu visualisieren. </a:t>
            </a:r>
          </a:p>
          <a:p>
            <a:pPr algn="just"/>
            <a:endParaRPr lang="en-GB" sz="2000" dirty="0"/>
          </a:p>
          <a:p>
            <a:pPr algn="just"/>
            <a:r>
              <a:rPr lang="en-GB" sz="2000" dirty="0"/>
              <a:t>Seine Zugänglichkeit und Funktionalität machen es zu einem grundlegenden Werkzeug für die erste Datenverarbeitung.</a:t>
            </a:r>
            <a:endParaRPr lang="en-US" sz="2000" dirty="0"/>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2200"/>
              <a:t>57</a:t>
            </a:fld>
            <a:endParaRPr lang="en-US" sz="2200" dirty="0"/>
          </a:p>
        </p:txBody>
      </p:sp>
      <p:pic>
        <p:nvPicPr>
          <p:cNvPr id="5" name="Picture Placeholder 4" descr="Person typing on keyboard">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1440" r="21440"/>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sz="2200"/>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sz="2200"/>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sz="2200"/>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sz="2200"/>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sz="2200"/>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sz="2200"/>
            </a:p>
          </p:txBody>
        </p:sp>
      </p:grpSp>
    </p:spTree>
    <p:extLst>
      <p:ext uri="{BB962C8B-B14F-4D97-AF65-F5344CB8AC3E}">
        <p14:creationId xmlns:p14="http://schemas.microsoft.com/office/powerpoint/2010/main" val="20256574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415285" y="384154"/>
            <a:ext cx="4951851" cy="558105"/>
          </a:xfrm>
        </p:spPr>
        <p:txBody>
          <a:bodyPr/>
          <a:lstStyle/>
          <a:p>
            <a:r>
              <a:rPr lang="en-GB" b="1" dirty="0"/>
              <a:t>WERKZEUGE UND TECHNOLOG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711354"/>
            <a:ext cx="4939670" cy="3549099"/>
          </a:xfrm>
        </p:spPr>
        <p:txBody>
          <a:bodyPr/>
          <a:lstStyle/>
          <a:p>
            <a:pPr algn="just"/>
            <a:r>
              <a:rPr lang="en-GB" sz="2200" b="1" dirty="0"/>
              <a:t>Datenvisualisierungstools </a:t>
            </a:r>
            <a:r>
              <a:rPr lang="en-GB" sz="2200" dirty="0"/>
              <a:t>wie </a:t>
            </a:r>
            <a:r>
              <a:rPr lang="en-GB" sz="2200" b="1" dirty="0">
                <a:hlinkClick r:id="rId3"/>
              </a:rPr>
              <a:t>Tableau </a:t>
            </a:r>
            <a:r>
              <a:rPr lang="en-GB" sz="2200" dirty="0"/>
              <a:t>ermöglichen die interaktive Visualisierung von Nachhaltigkeitstrends. </a:t>
            </a:r>
          </a:p>
          <a:p>
            <a:pPr algn="just"/>
            <a:endParaRPr lang="en-GB" sz="2200" dirty="0"/>
          </a:p>
          <a:p>
            <a:pPr algn="just"/>
            <a:r>
              <a:rPr lang="en-GB" sz="2200" dirty="0"/>
              <a:t>Mit diesen Tools können Unternehmen Rohdaten in aufschlussreiche, interaktive Dashboards umwandeln. </a:t>
            </a:r>
          </a:p>
          <a:p>
            <a:pPr algn="just"/>
            <a:endParaRPr lang="en-GB" sz="2200" dirty="0"/>
          </a:p>
          <a:p>
            <a:pPr algn="just"/>
            <a:r>
              <a:rPr lang="en-GB" sz="2200" dirty="0"/>
              <a:t>Durch die Identifizierung von Mustern und Trends mit Hilfe visueller Analysen können Unternehmen visuelle Berichte mit den Stakeholdern teilen und so ein besseres Verständnis und Engagement schaffen.</a:t>
            </a:r>
            <a:endParaRPr lang="en-US" sz="22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8</a:t>
            </a:fld>
            <a:endParaRPr lang="en-US" sz="1291" dirty="0"/>
          </a:p>
        </p:txBody>
      </p:sp>
      <p:pic>
        <p:nvPicPr>
          <p:cNvPr id="5" name="Picture Placeholder 4" descr="Businessperson on a computer">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a:blip r:embed="rId4" cstate="email">
            <a:extLst>
              <a:ext uri="{28A0092B-C50C-407E-A947-70E740481C1C}">
                <a14:useLocalDpi xmlns:a14="http://schemas.microsoft.com/office/drawing/2010/main"/>
              </a:ext>
            </a:extLst>
          </a:blip>
          <a:srcRect l="25903" r="25903"/>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193579524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25817A8-4434-7A42-8FDC-D5DBA4F4E62B}"/>
              </a:ext>
            </a:extLst>
          </p:cNvPr>
          <p:cNvSpPr>
            <a:spLocks noGrp="1"/>
          </p:cNvSpPr>
          <p:nvPr>
            <p:ph type="body" sz="quarter" idx="30"/>
          </p:nvPr>
        </p:nvSpPr>
        <p:spPr>
          <a:xfrm>
            <a:off x="6316116" y="222518"/>
            <a:ext cx="4951851" cy="558105"/>
          </a:xfrm>
        </p:spPr>
        <p:txBody>
          <a:bodyPr/>
          <a:lstStyle/>
          <a:p>
            <a:r>
              <a:rPr lang="en-GB" sz="3200" b="1" dirty="0"/>
              <a:t>WERKZEUGE UND TECHNOLOGIEN</a:t>
            </a:r>
          </a:p>
        </p:txBody>
      </p:sp>
      <p:sp>
        <p:nvSpPr>
          <p:cNvPr id="10" name="Text Placeholder 9">
            <a:extLst>
              <a:ext uri="{FF2B5EF4-FFF2-40B4-BE49-F238E27FC236}">
                <a16:creationId xmlns:a16="http://schemas.microsoft.com/office/drawing/2014/main" id="{F8251304-71BA-DB4B-935B-6BA8C2444400}"/>
              </a:ext>
            </a:extLst>
          </p:cNvPr>
          <p:cNvSpPr>
            <a:spLocks noGrp="1"/>
          </p:cNvSpPr>
          <p:nvPr>
            <p:ph type="body" sz="quarter" idx="48"/>
          </p:nvPr>
        </p:nvSpPr>
        <p:spPr>
          <a:xfrm>
            <a:off x="6427466" y="1711354"/>
            <a:ext cx="4939670" cy="3549099"/>
          </a:xfrm>
        </p:spPr>
        <p:txBody>
          <a:bodyPr/>
          <a:lstStyle/>
          <a:p>
            <a:pPr algn="just"/>
            <a:r>
              <a:rPr lang="en-GB" sz="2000" b="1" dirty="0"/>
              <a:t>Spezialisierte Software für die Nachhaltigkeitsberichterstattung </a:t>
            </a:r>
            <a:r>
              <a:rPr lang="en-GB" sz="2000" dirty="0"/>
              <a:t>rationalisiert die umfassende Datenerfassung, -analyse und -berichterstattung. </a:t>
            </a:r>
          </a:p>
          <a:p>
            <a:pPr algn="just"/>
            <a:endParaRPr lang="en-GB" sz="2000" dirty="0"/>
          </a:p>
          <a:p>
            <a:pPr algn="just"/>
            <a:r>
              <a:rPr lang="en-GB" sz="2000" dirty="0"/>
              <a:t>Diese Plattformen verfügen über Funktionen zur automatischen Erfassung von Daten aus verschiedenen Quellen, bieten fortschrittliche Analysen zur Bewertung der Nachhaltigkeitsleistung im Vergleich zu Benchmarks und stellen Vorlagen und Richtlinien bereit, um sicherzustellen, dass die Berichte globalen Standards wie der Global Reporting Initiative (GRI) und dem Carbon Disclosure Project (CDP) entsprechen.</a:t>
            </a:r>
            <a:endParaRPr lang="en-US" sz="2000" dirty="0"/>
          </a:p>
        </p:txBody>
      </p:sp>
      <p:sp>
        <p:nvSpPr>
          <p:cNvPr id="12" name="Text Placeholder 11">
            <a:extLst>
              <a:ext uri="{FF2B5EF4-FFF2-40B4-BE49-F238E27FC236}">
                <a16:creationId xmlns:a16="http://schemas.microsoft.com/office/drawing/2014/main" id="{5A16ABDA-3F84-2E4A-ACE6-166D1B9B231F}"/>
              </a:ext>
            </a:extLst>
          </p:cNvPr>
          <p:cNvSpPr>
            <a:spLocks noGrp="1"/>
          </p:cNvSpPr>
          <p:nvPr>
            <p:ph type="body" sz="quarter" idx="4294967295"/>
          </p:nvPr>
        </p:nvSpPr>
        <p:spPr>
          <a:xfrm rot="10800000">
            <a:off x="8123238" y="2452688"/>
            <a:ext cx="4068762" cy="138112"/>
          </a:xfrm>
        </p:spPr>
        <p:txBody>
          <a:bodyPr>
            <a:normAutofit fontScale="25000" lnSpcReduction="20000"/>
          </a:bodyPr>
          <a:lstStyle/>
          <a:p>
            <a:r>
              <a:rPr lang="en-US" dirty="0"/>
              <a:t>"</a:t>
            </a:r>
          </a:p>
        </p:txBody>
      </p:sp>
      <p:sp>
        <p:nvSpPr>
          <p:cNvPr id="24" name="Slide Number Placeholder 2">
            <a:extLst>
              <a:ext uri="{FF2B5EF4-FFF2-40B4-BE49-F238E27FC236}">
                <a16:creationId xmlns:a16="http://schemas.microsoft.com/office/drawing/2014/main" id="{B900E176-0974-8C4A-8A83-E6A437E14782}"/>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59</a:t>
            </a:fld>
            <a:endParaRPr lang="en-US" sz="1291" dirty="0"/>
          </a:p>
        </p:txBody>
      </p:sp>
      <p:pic>
        <p:nvPicPr>
          <p:cNvPr id="5" name="Picture Placeholder 4">
            <a:extLst>
              <a:ext uri="{FF2B5EF4-FFF2-40B4-BE49-F238E27FC236}">
                <a16:creationId xmlns:a16="http://schemas.microsoft.com/office/drawing/2014/main" id="{3FBE0605-9C4C-0E96-8453-E039158ABDB8}"/>
              </a:ext>
            </a:extLst>
          </p:cNvPr>
          <p:cNvPicPr>
            <a:picLocks noGrp="1" noChangeAspect="1"/>
          </p:cNvPicPr>
          <p:nvPr>
            <p:ph type="pic" sz="quarter" idx="21"/>
          </p:nvPr>
        </p:nvPicPr>
        <p:blipFill rotWithShape="1">
          <a:blip r:embed="rId3" cstate="email">
            <a:extLst>
              <a:ext uri="{28A0092B-C50C-407E-A947-70E740481C1C}">
                <a14:useLocalDpi xmlns:a14="http://schemas.microsoft.com/office/drawing/2010/main"/>
              </a:ext>
            </a:extLst>
          </a:blip>
          <a:srcRect l="36840" r="14966"/>
          <a:stretch/>
        </p:blipFill>
        <p:spPr>
          <a:xfrm>
            <a:off x="0" y="0"/>
            <a:ext cx="5875886" cy="6858000"/>
          </a:xfrm>
        </p:spPr>
      </p:pic>
      <p:grpSp>
        <p:nvGrpSpPr>
          <p:cNvPr id="7" name="Group 6">
            <a:extLst>
              <a:ext uri="{FF2B5EF4-FFF2-40B4-BE49-F238E27FC236}">
                <a16:creationId xmlns:a16="http://schemas.microsoft.com/office/drawing/2014/main" id="{7B4CCD5B-19A2-B6FE-2AF8-2BB2B99893D7}"/>
              </a:ext>
            </a:extLst>
          </p:cNvPr>
          <p:cNvGrpSpPr/>
          <p:nvPr/>
        </p:nvGrpSpPr>
        <p:grpSpPr>
          <a:xfrm>
            <a:off x="1426203" y="4802140"/>
            <a:ext cx="5074615" cy="2369127"/>
            <a:chOff x="-1871944" y="1778846"/>
            <a:chExt cx="1736764" cy="810823"/>
          </a:xfrm>
          <a:solidFill>
            <a:schemeClr val="bg1">
              <a:alpha val="56867"/>
            </a:schemeClr>
          </a:solidFill>
        </p:grpSpPr>
        <p:sp>
          <p:nvSpPr>
            <p:cNvPr id="9" name="Freeform 8">
              <a:extLst>
                <a:ext uri="{FF2B5EF4-FFF2-40B4-BE49-F238E27FC236}">
                  <a16:creationId xmlns:a16="http://schemas.microsoft.com/office/drawing/2014/main" id="{2CD61FCC-2629-BD2A-3143-315461E4EFC7}"/>
                </a:ext>
              </a:extLst>
            </p:cNvPr>
            <p:cNvSpPr/>
            <p:nvPr userDrawn="1"/>
          </p:nvSpPr>
          <p:spPr>
            <a:xfrm>
              <a:off x="-1393423" y="1778846"/>
              <a:ext cx="327920" cy="313711"/>
            </a:xfrm>
            <a:custGeom>
              <a:avLst/>
              <a:gdLst>
                <a:gd name="connsiteX0" fmla="*/ 0 w 327920"/>
                <a:gd name="connsiteY0" fmla="*/ 89287 h 313711"/>
                <a:gd name="connsiteX1" fmla="*/ 327921 w 327920"/>
                <a:gd name="connsiteY1" fmla="*/ 0 h 313711"/>
                <a:gd name="connsiteX2" fmla="*/ 327921 w 327920"/>
                <a:gd name="connsiteY2" fmla="*/ 260622 h 313711"/>
                <a:gd name="connsiteX3" fmla="*/ 131168 w 327920"/>
                <a:gd name="connsiteY3" fmla="*/ 313712 h 313711"/>
                <a:gd name="connsiteX4" fmla="*/ 0 w 327920"/>
                <a:gd name="connsiteY4" fmla="*/ 89287 h 313711"/>
                <a:gd name="connsiteX5" fmla="*/ 0 w 327920"/>
                <a:gd name="connsiteY5" fmla="*/ 89287 h 31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20" h="313711">
                  <a:moveTo>
                    <a:pt x="0" y="89287"/>
                  </a:moveTo>
                  <a:cubicBezTo>
                    <a:pt x="99591" y="38611"/>
                    <a:pt x="211327" y="7239"/>
                    <a:pt x="327921" y="0"/>
                  </a:cubicBezTo>
                  <a:lnTo>
                    <a:pt x="327921" y="260622"/>
                  </a:lnTo>
                  <a:cubicBezTo>
                    <a:pt x="257479" y="267861"/>
                    <a:pt x="191894" y="287167"/>
                    <a:pt x="131168" y="313712"/>
                  </a:cubicBezTo>
                  <a:lnTo>
                    <a:pt x="0" y="89287"/>
                  </a:lnTo>
                  <a:lnTo>
                    <a:pt x="0" y="89287"/>
                  </a:lnTo>
                  <a:close/>
                </a:path>
              </a:pathLst>
            </a:custGeom>
            <a:grpFill/>
            <a:ln w="2428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6CCD12F-7C7F-F473-1AE2-D18DCDFC5008}"/>
                </a:ext>
              </a:extLst>
            </p:cNvPr>
            <p:cNvSpPr/>
            <p:nvPr userDrawn="1"/>
          </p:nvSpPr>
          <p:spPr>
            <a:xfrm>
              <a:off x="-1731060" y="1923636"/>
              <a:ext cx="371643" cy="369214"/>
            </a:xfrm>
            <a:custGeom>
              <a:avLst/>
              <a:gdLst>
                <a:gd name="connsiteX0" fmla="*/ 0 w 371643"/>
                <a:gd name="connsiteY0" fmla="*/ 241317 h 369214"/>
                <a:gd name="connsiteX1" fmla="*/ 240475 w 371643"/>
                <a:gd name="connsiteY1" fmla="*/ 0 h 369214"/>
                <a:gd name="connsiteX2" fmla="*/ 371643 w 371643"/>
                <a:gd name="connsiteY2" fmla="*/ 224424 h 369214"/>
                <a:gd name="connsiteX3" fmla="*/ 228330 w 371643"/>
                <a:gd name="connsiteY3" fmla="*/ 369214 h 369214"/>
                <a:gd name="connsiteX4" fmla="*/ 0 w 371643"/>
                <a:gd name="connsiteY4" fmla="*/ 241317 h 369214"/>
                <a:gd name="connsiteX5" fmla="*/ 0 w 371643"/>
                <a:gd name="connsiteY5" fmla="*/ 241317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0" y="241317"/>
                  </a:moveTo>
                  <a:cubicBezTo>
                    <a:pt x="63155" y="147203"/>
                    <a:pt x="145742" y="65155"/>
                    <a:pt x="240475" y="0"/>
                  </a:cubicBezTo>
                  <a:lnTo>
                    <a:pt x="371643" y="224424"/>
                  </a:lnTo>
                  <a:cubicBezTo>
                    <a:pt x="315775" y="265448"/>
                    <a:pt x="267195" y="313712"/>
                    <a:pt x="228330" y="369214"/>
                  </a:cubicBezTo>
                  <a:lnTo>
                    <a:pt x="0" y="241317"/>
                  </a:lnTo>
                  <a:lnTo>
                    <a:pt x="0" y="241317"/>
                  </a:lnTo>
                  <a:close/>
                </a:path>
              </a:pathLst>
            </a:custGeom>
            <a:grpFill/>
            <a:ln w="242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E244C6DB-C5B1-034D-F4B1-37E7C152521E}"/>
                </a:ext>
              </a:extLst>
            </p:cNvPr>
            <p:cNvSpPr/>
            <p:nvPr userDrawn="1"/>
          </p:nvSpPr>
          <p:spPr>
            <a:xfrm>
              <a:off x="-1871944" y="2261479"/>
              <a:ext cx="313346" cy="328190"/>
            </a:xfrm>
            <a:custGeom>
              <a:avLst/>
              <a:gdLst>
                <a:gd name="connsiteX0" fmla="*/ 0 w 313346"/>
                <a:gd name="connsiteY0" fmla="*/ 328190 h 328190"/>
                <a:gd name="connsiteX1" fmla="*/ 87445 w 313346"/>
                <a:gd name="connsiteY1" fmla="*/ 0 h 328190"/>
                <a:gd name="connsiteX2" fmla="*/ 313346 w 313346"/>
                <a:gd name="connsiteY2" fmla="*/ 130311 h 328190"/>
                <a:gd name="connsiteX3" fmla="*/ 262336 w 313346"/>
                <a:gd name="connsiteY3" fmla="*/ 328190 h 328190"/>
                <a:gd name="connsiteX4" fmla="*/ 0 w 313346"/>
                <a:gd name="connsiteY4" fmla="*/ 328190 h 328190"/>
                <a:gd name="connsiteX5" fmla="*/ 0 w 313346"/>
                <a:gd name="connsiteY5" fmla="*/ 328190 h 32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346" h="328190">
                  <a:moveTo>
                    <a:pt x="0" y="328190"/>
                  </a:moveTo>
                  <a:cubicBezTo>
                    <a:pt x="7287" y="212359"/>
                    <a:pt x="36436" y="101353"/>
                    <a:pt x="87445" y="0"/>
                  </a:cubicBezTo>
                  <a:lnTo>
                    <a:pt x="313346" y="130311"/>
                  </a:lnTo>
                  <a:cubicBezTo>
                    <a:pt x="286627" y="190640"/>
                    <a:pt x="267195" y="258209"/>
                    <a:pt x="262336" y="328190"/>
                  </a:cubicBezTo>
                  <a:lnTo>
                    <a:pt x="0" y="328190"/>
                  </a:lnTo>
                  <a:lnTo>
                    <a:pt x="0" y="328190"/>
                  </a:lnTo>
                  <a:close/>
                </a:path>
              </a:pathLst>
            </a:custGeom>
            <a:grpFill/>
            <a:ln w="2428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45006C7-250C-B496-2D5D-B1B36DE238EE}"/>
                </a:ext>
              </a:extLst>
            </p:cNvPr>
            <p:cNvSpPr/>
            <p:nvPr userDrawn="1"/>
          </p:nvSpPr>
          <p:spPr>
            <a:xfrm>
              <a:off x="-450955" y="2254240"/>
              <a:ext cx="315775" cy="325777"/>
            </a:xfrm>
            <a:custGeom>
              <a:avLst/>
              <a:gdLst>
                <a:gd name="connsiteX0" fmla="*/ 225901 w 315775"/>
                <a:gd name="connsiteY0" fmla="*/ 0 h 325777"/>
                <a:gd name="connsiteX1" fmla="*/ 315775 w 315775"/>
                <a:gd name="connsiteY1" fmla="*/ 325777 h 325777"/>
                <a:gd name="connsiteX2" fmla="*/ 53439 w 315775"/>
                <a:gd name="connsiteY2" fmla="*/ 325777 h 325777"/>
                <a:gd name="connsiteX3" fmla="*/ 0 w 315775"/>
                <a:gd name="connsiteY3" fmla="*/ 130311 h 325777"/>
                <a:gd name="connsiteX4" fmla="*/ 225901 w 315775"/>
                <a:gd name="connsiteY4" fmla="*/ 0 h 325777"/>
                <a:gd name="connsiteX5" fmla="*/ 225901 w 315775"/>
                <a:gd name="connsiteY5" fmla="*/ 0 h 325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5" h="325777">
                  <a:moveTo>
                    <a:pt x="225901" y="0"/>
                  </a:moveTo>
                  <a:cubicBezTo>
                    <a:pt x="276911" y="98940"/>
                    <a:pt x="308488" y="209945"/>
                    <a:pt x="315775" y="325777"/>
                  </a:cubicBezTo>
                  <a:lnTo>
                    <a:pt x="53439" y="325777"/>
                  </a:lnTo>
                  <a:cubicBezTo>
                    <a:pt x="46152" y="255796"/>
                    <a:pt x="26719" y="190640"/>
                    <a:pt x="0" y="130311"/>
                  </a:cubicBezTo>
                  <a:lnTo>
                    <a:pt x="225901" y="0"/>
                  </a:lnTo>
                  <a:lnTo>
                    <a:pt x="225901" y="0"/>
                  </a:lnTo>
                  <a:close/>
                </a:path>
              </a:pathLst>
            </a:custGeom>
            <a:grpFill/>
            <a:ln w="2428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F37F7C84-04E3-3BCD-D1E6-0D3E937F0EB2}"/>
                </a:ext>
              </a:extLst>
            </p:cNvPr>
            <p:cNvSpPr/>
            <p:nvPr userDrawn="1"/>
          </p:nvSpPr>
          <p:spPr>
            <a:xfrm>
              <a:off x="-652566" y="1918810"/>
              <a:ext cx="371643" cy="369214"/>
            </a:xfrm>
            <a:custGeom>
              <a:avLst/>
              <a:gdLst>
                <a:gd name="connsiteX0" fmla="*/ 128739 w 371643"/>
                <a:gd name="connsiteY0" fmla="*/ 0 h 369214"/>
                <a:gd name="connsiteX1" fmla="*/ 371643 w 371643"/>
                <a:gd name="connsiteY1" fmla="*/ 238903 h 369214"/>
                <a:gd name="connsiteX2" fmla="*/ 145742 w 371643"/>
                <a:gd name="connsiteY2" fmla="*/ 369214 h 369214"/>
                <a:gd name="connsiteX3" fmla="*/ 0 w 371643"/>
                <a:gd name="connsiteY3" fmla="*/ 226838 h 369214"/>
                <a:gd name="connsiteX4" fmla="*/ 128739 w 371643"/>
                <a:gd name="connsiteY4" fmla="*/ 0 h 369214"/>
                <a:gd name="connsiteX5" fmla="*/ 128739 w 371643"/>
                <a:gd name="connsiteY5" fmla="*/ 0 h 36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643" h="369214">
                  <a:moveTo>
                    <a:pt x="128739" y="0"/>
                  </a:moveTo>
                  <a:cubicBezTo>
                    <a:pt x="223472" y="62742"/>
                    <a:pt x="306059" y="144790"/>
                    <a:pt x="371643" y="238903"/>
                  </a:cubicBezTo>
                  <a:lnTo>
                    <a:pt x="145742" y="369214"/>
                  </a:lnTo>
                  <a:cubicBezTo>
                    <a:pt x="104449" y="313712"/>
                    <a:pt x="55868" y="265448"/>
                    <a:pt x="0" y="226838"/>
                  </a:cubicBezTo>
                  <a:lnTo>
                    <a:pt x="128739" y="0"/>
                  </a:lnTo>
                  <a:lnTo>
                    <a:pt x="128739" y="0"/>
                  </a:lnTo>
                  <a:close/>
                </a:path>
              </a:pathLst>
            </a:custGeom>
            <a:grpFill/>
            <a:ln w="2428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6A44057-FCF5-C933-62C3-1203C8E7CF49}"/>
                </a:ext>
              </a:extLst>
            </p:cNvPr>
            <p:cNvSpPr/>
            <p:nvPr userDrawn="1"/>
          </p:nvSpPr>
          <p:spPr>
            <a:xfrm>
              <a:off x="-951338" y="1778846"/>
              <a:ext cx="330349" cy="308885"/>
            </a:xfrm>
            <a:custGeom>
              <a:avLst/>
              <a:gdLst>
                <a:gd name="connsiteX0" fmla="*/ 0 w 330349"/>
                <a:gd name="connsiteY0" fmla="*/ 0 h 308885"/>
                <a:gd name="connsiteX1" fmla="*/ 330350 w 330349"/>
                <a:gd name="connsiteY1" fmla="*/ 84461 h 308885"/>
                <a:gd name="connsiteX2" fmla="*/ 199181 w 330349"/>
                <a:gd name="connsiteY2" fmla="*/ 308885 h 308885"/>
                <a:gd name="connsiteX3" fmla="*/ 0 w 330349"/>
                <a:gd name="connsiteY3" fmla="*/ 258209 h 308885"/>
                <a:gd name="connsiteX4" fmla="*/ 0 w 330349"/>
                <a:gd name="connsiteY4" fmla="*/ 0 h 308885"/>
                <a:gd name="connsiteX5" fmla="*/ 0 w 330349"/>
                <a:gd name="connsiteY5" fmla="*/ 0 h 30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0349" h="308885">
                  <a:moveTo>
                    <a:pt x="0" y="0"/>
                  </a:moveTo>
                  <a:cubicBezTo>
                    <a:pt x="116594" y="7239"/>
                    <a:pt x="228330" y="36197"/>
                    <a:pt x="330350" y="84461"/>
                  </a:cubicBezTo>
                  <a:lnTo>
                    <a:pt x="199181" y="308885"/>
                  </a:lnTo>
                  <a:cubicBezTo>
                    <a:pt x="138455" y="282340"/>
                    <a:pt x="70442" y="263035"/>
                    <a:pt x="0" y="258209"/>
                  </a:cubicBezTo>
                  <a:lnTo>
                    <a:pt x="0" y="0"/>
                  </a:lnTo>
                  <a:lnTo>
                    <a:pt x="0" y="0"/>
                  </a:lnTo>
                  <a:close/>
                </a:path>
              </a:pathLst>
            </a:custGeom>
            <a:grpFill/>
            <a:ln w="24289" cap="flat">
              <a:noFill/>
              <a:prstDash val="solid"/>
              <a:miter/>
            </a:ln>
          </p:spPr>
          <p:txBody>
            <a:bodyPr rtlCol="0" anchor="ctr"/>
            <a:lstStyle/>
            <a:p>
              <a:endParaRPr lang="en-US"/>
            </a:p>
          </p:txBody>
        </p:sp>
      </p:grpSp>
    </p:spTree>
    <p:extLst>
      <p:ext uri="{BB962C8B-B14F-4D97-AF65-F5344CB8AC3E}">
        <p14:creationId xmlns:p14="http://schemas.microsoft.com/office/powerpoint/2010/main" val="42781020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9244E89-4779-F07E-E8F3-9A40004AE9FC}"/>
              </a:ext>
            </a:extLst>
          </p:cNvPr>
          <p:cNvSpPr>
            <a:spLocks noGrp="1"/>
          </p:cNvSpPr>
          <p:nvPr>
            <p:ph type="body" sz="quarter" idx="30"/>
          </p:nvPr>
        </p:nvSpPr>
        <p:spPr>
          <a:xfrm>
            <a:off x="6216242" y="368277"/>
            <a:ext cx="4951851" cy="845139"/>
          </a:xfrm>
        </p:spPr>
        <p:txBody>
          <a:bodyPr/>
          <a:lstStyle/>
          <a:p>
            <a:r>
              <a:rPr lang="en-GB" sz="2800" b="1" dirty="0"/>
              <a:t>VORTEILE EINER EFFEKTIVEN MARKTANALYSE</a:t>
            </a:r>
            <a:endParaRPr lang="en-GB" sz="2800" dirty="0"/>
          </a:p>
          <a:p>
            <a:endParaRPr lang="en-IE" sz="2800" dirty="0"/>
          </a:p>
        </p:txBody>
      </p:sp>
      <p:sp>
        <p:nvSpPr>
          <p:cNvPr id="4" name="Text Placeholder 3">
            <a:extLst>
              <a:ext uri="{FF2B5EF4-FFF2-40B4-BE49-F238E27FC236}">
                <a16:creationId xmlns:a16="http://schemas.microsoft.com/office/drawing/2014/main" id="{1C591360-6E33-2BAD-AF84-084A2A84DC4B}"/>
              </a:ext>
            </a:extLst>
          </p:cNvPr>
          <p:cNvSpPr>
            <a:spLocks noGrp="1"/>
          </p:cNvSpPr>
          <p:nvPr>
            <p:ph type="body" sz="quarter" idx="48"/>
          </p:nvPr>
        </p:nvSpPr>
        <p:spPr>
          <a:xfrm>
            <a:off x="6216242" y="1677797"/>
            <a:ext cx="5788403" cy="5050173"/>
          </a:xfrm>
          <a:solidFill>
            <a:schemeClr val="bg1"/>
          </a:solidFill>
        </p:spPr>
        <p:txBody>
          <a:bodyPr/>
          <a:lstStyle/>
          <a:p>
            <a:pPr algn="just"/>
            <a:r>
              <a:rPr lang="en-GB" sz="1800" dirty="0"/>
              <a:t>Marktanalysen liefern </a:t>
            </a:r>
            <a:r>
              <a:rPr lang="en-GB" sz="1800" b="1" dirty="0"/>
              <a:t>unschätzbare Erkenntnisse</a:t>
            </a:r>
            <a:r>
              <a:rPr lang="en-GB" sz="1800" dirty="0"/>
              <a:t>, die den Unternehmen helfen, fundierte Entscheidungen zu treffen, ihre Ressourcen effizient einzusetzen und Produkte zu entwickeln, die den Bedürfnissen der Verbraucher entsprechen. </a:t>
            </a:r>
          </a:p>
          <a:p>
            <a:pPr algn="just"/>
            <a:endParaRPr lang="en-GB" sz="1800" dirty="0"/>
          </a:p>
          <a:p>
            <a:pPr algn="just"/>
            <a:r>
              <a:rPr lang="en-GB" sz="1800" dirty="0"/>
              <a:t>Durch die Kenntnis der Marktgröße, des Wachstumspotenzials und der Wettbewerbslandschaft </a:t>
            </a:r>
            <a:r>
              <a:rPr lang="en-GB" sz="1800" b="1" dirty="0"/>
              <a:t>können Unternehmen </a:t>
            </a:r>
            <a:r>
              <a:rPr lang="en-GB" sz="1800" b="1" dirty="0" err="1"/>
              <a:t>ihre Strategien </a:t>
            </a:r>
            <a:r>
              <a:rPr lang="en-GB" sz="1800" dirty="0"/>
              <a:t>auf der Grundlage solider Daten </a:t>
            </a:r>
            <a:r>
              <a:rPr lang="en-GB" sz="1800" b="1" dirty="0" err="1"/>
              <a:t>entwickeln</a:t>
            </a:r>
            <a:r>
              <a:rPr lang="en-GB" sz="1800" dirty="0"/>
              <a:t>. </a:t>
            </a:r>
          </a:p>
          <a:p>
            <a:pPr algn="just"/>
            <a:endParaRPr lang="en-GB" sz="1800" dirty="0"/>
          </a:p>
          <a:p>
            <a:pPr algn="just"/>
            <a:r>
              <a:rPr lang="en-GB" sz="1800" dirty="0"/>
              <a:t>Dieser Ansatz gewährleistet nicht nur, dass die Ressourcen auf Bereiche mit hohem Potenzial konzentriert werden, sondern erhöht auch die Wahrscheinlichkeit des Produkterfolgs und der Marktakzeptanz.</a:t>
            </a:r>
            <a:endParaRPr lang="en-IE" sz="1800" dirty="0"/>
          </a:p>
        </p:txBody>
      </p:sp>
      <p:pic>
        <p:nvPicPr>
          <p:cNvPr id="2" name="Picture Placeholder 5">
            <a:extLst>
              <a:ext uri="{FF2B5EF4-FFF2-40B4-BE49-F238E27FC236}">
                <a16:creationId xmlns:a16="http://schemas.microsoft.com/office/drawing/2014/main" id="{3397EBA8-ABAB-4A3F-0286-2FF12FE60F9C}"/>
              </a:ext>
            </a:extLst>
          </p:cNvPr>
          <p:cNvPicPr>
            <a:picLocks noGrp="1" noChangeAspect="1"/>
          </p:cNvPicPr>
          <p:nvPr>
            <p:ph type="pic" sz="quarter" idx="21"/>
          </p:nvPr>
        </p:nvPicPr>
        <p:blipFill>
          <a:blip r:embed="rId3" cstate="email">
            <a:extLst>
              <a:ext uri="{28A0092B-C50C-407E-A947-70E740481C1C}">
                <a14:useLocalDpi xmlns:a14="http://schemas.microsoft.com/office/drawing/2010/main"/>
              </a:ext>
            </a:extLst>
          </a:blip>
          <a:srcRect l="23495" r="23495"/>
          <a:stretch>
            <a:fillRect/>
          </a:stretch>
        </p:blipFill>
        <p:spPr>
          <a:xfrm>
            <a:off x="0" y="0"/>
            <a:ext cx="5875338" cy="6858000"/>
          </a:xfrm>
        </p:spPr>
      </p:pic>
    </p:spTree>
    <p:extLst>
      <p:ext uri="{BB962C8B-B14F-4D97-AF65-F5344CB8AC3E}">
        <p14:creationId xmlns:p14="http://schemas.microsoft.com/office/powerpoint/2010/main" val="37108018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Two cute robots">
            <a:extLst>
              <a:ext uri="{FF2B5EF4-FFF2-40B4-BE49-F238E27FC236}">
                <a16:creationId xmlns:a16="http://schemas.microsoft.com/office/drawing/2014/main" id="{F9810BA0-20ED-1678-444A-90E474407606}"/>
              </a:ext>
            </a:extLst>
          </p:cNvPr>
          <p:cNvPicPr>
            <a:picLocks noGrp="1" noChangeAspect="1"/>
          </p:cNvPicPr>
          <p:nvPr>
            <p:ph type="pic" sz="quarter" idx="21"/>
          </p:nvPr>
        </p:nvPicPr>
        <p:blipFill rotWithShape="1">
          <a:blip r:embed="rId2" cstate="email">
            <a:extLst>
              <a:ext uri="{28A0092B-C50C-407E-A947-70E740481C1C}">
                <a14:useLocalDpi xmlns:a14="http://schemas.microsoft.com/office/drawing/2010/main"/>
              </a:ext>
            </a:extLst>
          </a:blip>
          <a:srcRect l="36090" r="22946"/>
          <a:stretch/>
        </p:blipFill>
        <p:spPr>
          <a:xfrm>
            <a:off x="-102977" y="0"/>
            <a:ext cx="4993772" cy="6858000"/>
          </a:xfrm>
        </p:spPr>
      </p:pic>
      <p:sp>
        <p:nvSpPr>
          <p:cNvPr id="3" name="Text Placeholder 2">
            <a:extLst>
              <a:ext uri="{FF2B5EF4-FFF2-40B4-BE49-F238E27FC236}">
                <a16:creationId xmlns:a16="http://schemas.microsoft.com/office/drawing/2014/main" id="{B5071AEA-CFE7-9F58-01A2-11F6FD909A5E}"/>
              </a:ext>
            </a:extLst>
          </p:cNvPr>
          <p:cNvSpPr>
            <a:spLocks noGrp="1"/>
          </p:cNvSpPr>
          <p:nvPr>
            <p:ph type="body" sz="quarter" idx="30"/>
          </p:nvPr>
        </p:nvSpPr>
        <p:spPr>
          <a:xfrm>
            <a:off x="4513291" y="436795"/>
            <a:ext cx="6776598" cy="842867"/>
          </a:xfrm>
        </p:spPr>
        <p:txBody>
          <a:bodyPr/>
          <a:lstStyle/>
          <a:p>
            <a:r>
              <a:rPr lang="en-IE" dirty="0"/>
              <a:t>PRAKTISCHE ÜBUNG</a:t>
            </a:r>
          </a:p>
        </p:txBody>
      </p:sp>
      <p:sp>
        <p:nvSpPr>
          <p:cNvPr id="4" name="Text Placeholder 3">
            <a:extLst>
              <a:ext uri="{FF2B5EF4-FFF2-40B4-BE49-F238E27FC236}">
                <a16:creationId xmlns:a16="http://schemas.microsoft.com/office/drawing/2014/main" id="{713E1589-CEB4-DA9F-9F5E-E4DF0DC96066}"/>
              </a:ext>
            </a:extLst>
          </p:cNvPr>
          <p:cNvSpPr>
            <a:spLocks noGrp="1"/>
          </p:cNvSpPr>
          <p:nvPr>
            <p:ph type="body" sz="quarter" idx="48"/>
          </p:nvPr>
        </p:nvSpPr>
        <p:spPr>
          <a:xfrm>
            <a:off x="5343787" y="1620890"/>
            <a:ext cx="6239716" cy="4271810"/>
          </a:xfrm>
        </p:spPr>
        <p:txBody>
          <a:bodyPr/>
          <a:lstStyle/>
          <a:p>
            <a:pPr algn="just"/>
            <a:r>
              <a:rPr lang="en-GB" sz="1800" b="1" dirty="0"/>
              <a:t>Workshop zum Nachhaltigkeitsbericht</a:t>
            </a:r>
          </a:p>
          <a:p>
            <a:pPr algn="just"/>
            <a:endParaRPr lang="en-GB" sz="1800" dirty="0"/>
          </a:p>
          <a:p>
            <a:pPr algn="just"/>
            <a:r>
              <a:rPr lang="en-GB" sz="1800" b="1" dirty="0"/>
              <a:t>Zielsetzung: </a:t>
            </a:r>
            <a:r>
              <a:rPr lang="en-GB" sz="1800" dirty="0"/>
              <a:t>Erstellen Sie einen fiktiven Nachhaltigkeitsbericht.</a:t>
            </a:r>
          </a:p>
          <a:p>
            <a:pPr algn="just"/>
            <a:endParaRPr lang="en-GB" sz="1800" dirty="0"/>
          </a:p>
          <a:p>
            <a:pPr algn="just"/>
            <a:r>
              <a:rPr lang="en-GB" sz="1800" b="1" dirty="0"/>
              <a:t>Bilden Sie Teams: </a:t>
            </a:r>
            <a:r>
              <a:rPr lang="en-GB" sz="1800" dirty="0"/>
              <a:t>Teilen Sie sich in kleine Gruppen auf.</a:t>
            </a:r>
          </a:p>
          <a:p>
            <a:pPr algn="just"/>
            <a:r>
              <a:rPr lang="en-GB" sz="1800" b="1" dirty="0"/>
              <a:t>Datenerfassung: </a:t>
            </a:r>
            <a:r>
              <a:rPr lang="en-GB" sz="1800" dirty="0"/>
              <a:t>Verwenden Sie die bereitgestellten Datensätze.</a:t>
            </a:r>
          </a:p>
          <a:p>
            <a:pPr algn="just"/>
            <a:r>
              <a:rPr lang="en-GB" sz="1800" b="1" dirty="0"/>
              <a:t>Bericht schreiben: </a:t>
            </a:r>
          </a:p>
          <a:p>
            <a:pPr marL="285750" indent="-285750" algn="just">
              <a:buFont typeface="Arial" panose="020B0604020202020204" pitchFamily="34" charset="0"/>
              <a:buChar char="•"/>
            </a:pPr>
            <a:r>
              <a:rPr lang="en-GB" sz="1800" dirty="0"/>
              <a:t>Daten analysieren.</a:t>
            </a:r>
          </a:p>
          <a:p>
            <a:pPr marL="285750" indent="-285750" algn="just">
              <a:buFont typeface="Arial" panose="020B0604020202020204" pitchFamily="34" charset="0"/>
              <a:buChar char="•"/>
            </a:pPr>
            <a:r>
              <a:rPr lang="en-GB" sz="1800" dirty="0"/>
              <a:t>Strukturieren Sie den Bericht mit ESG-Faktoren.</a:t>
            </a:r>
          </a:p>
          <a:p>
            <a:pPr marL="285750" indent="-285750" algn="just">
              <a:buFont typeface="Arial" panose="020B0604020202020204" pitchFamily="34" charset="0"/>
              <a:buChar char="•"/>
            </a:pPr>
            <a:r>
              <a:rPr lang="en-GB" sz="1800" dirty="0"/>
              <a:t>Erstellen Sie visuelle Hilfsmittel (Tabellen, Diagramme).</a:t>
            </a:r>
          </a:p>
          <a:p>
            <a:pPr algn="just"/>
            <a:r>
              <a:rPr lang="en-GB" sz="1800" b="1" dirty="0"/>
              <a:t>Präsentation: </a:t>
            </a:r>
            <a:r>
              <a:rPr lang="en-GB" sz="1800" dirty="0"/>
              <a:t>Präsentieren Sie die Berichte vor der Klasse.</a:t>
            </a:r>
          </a:p>
          <a:p>
            <a:pPr algn="just"/>
            <a:r>
              <a:rPr lang="en-GB" sz="1800" b="1" dirty="0"/>
              <a:t>Rückmeldung: </a:t>
            </a:r>
            <a:r>
              <a:rPr lang="en-GB" sz="1800" dirty="0"/>
              <a:t>Besprechen Sie Stärken und verbesserungswürdige Bereiche.</a:t>
            </a:r>
          </a:p>
          <a:p>
            <a:pPr algn="just"/>
            <a:endParaRPr lang="en-GB" sz="1800" dirty="0"/>
          </a:p>
          <a:p>
            <a:pPr algn="just"/>
            <a:r>
              <a:rPr lang="en-GB" sz="1800" b="1" dirty="0"/>
              <a:t>Ergebnis: </a:t>
            </a:r>
            <a:r>
              <a:rPr lang="en-GB" sz="1800" dirty="0"/>
              <a:t>Entwicklung praktischer Fähigkeiten in der Nachhaltigkeitsberichterstattung.</a:t>
            </a:r>
            <a:endParaRPr lang="en-IE" sz="1800" dirty="0"/>
          </a:p>
        </p:txBody>
      </p:sp>
    </p:spTree>
    <p:extLst>
      <p:ext uri="{BB962C8B-B14F-4D97-AF65-F5344CB8AC3E}">
        <p14:creationId xmlns:p14="http://schemas.microsoft.com/office/powerpoint/2010/main" val="12900495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0" y="551066"/>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360829"/>
            <a:ext cx="10483429" cy="4743778"/>
          </a:xfrm>
        </p:spPr>
        <p:txBody>
          <a:bodyPr/>
          <a:lstStyle/>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16: Frieden, Gerechtigkeit und starke Institutionen</a:t>
            </a:r>
            <a:r>
              <a:rPr lang="en-GB" sz="2000" dirty="0"/>
              <a:t>: Förderung von Rechenschaftspflicht und Transparenz in der Wirtschaft durch Nachhaltigkeitsberichterstattung, Stärkung der institutionellen Integrität und Schaffung inklusiver Gesellschafte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3: Klimapolitik</a:t>
            </a:r>
            <a:r>
              <a:rPr lang="en-GB" sz="2000" dirty="0"/>
              <a:t>: Nutzt die Nachhaltigkeitsberichterstattung zur Offenlegung von Umweltauswirkungen und -risiken, zur Bewusstseinsbildung, zur Förderung nachhaltiger Praktiken und zur Unterstützung globaler Klimaschutzbemühungen.</a:t>
            </a:r>
          </a:p>
          <a:p>
            <a:pPr algn="just"/>
            <a:endParaRPr lang="en-GB" sz="2000" dirty="0"/>
          </a:p>
          <a:p>
            <a:pPr algn="just"/>
            <a:r>
              <a:rPr lang="en-GB" sz="2000" b="1" dirty="0">
                <a:solidFill>
                  <a:srgbClr val="0F486D"/>
                </a:solidFill>
                <a:hlinkClick r:id="rId4">
                  <a:extLst>
                    <a:ext uri="{A12FA001-AC4F-418D-AE19-62706E023703}">
                      <ahyp:hlinkClr xmlns:ahyp="http://schemas.microsoft.com/office/drawing/2018/hyperlinkcolor" val="tx"/>
                    </a:ext>
                  </a:extLst>
                </a:hlinkClick>
              </a:rPr>
              <a:t>SDG 12: Verantwortungsbewusster Konsum und Produktion</a:t>
            </a:r>
            <a:r>
              <a:rPr lang="en-GB" sz="2000" dirty="0"/>
              <a:t>: Förderung nachhaltiger Geschäftspraktiken durch transparente Berichterstattung über Verbrauch, Ressourcennutzung und Produktionsauswirkungen, Schaffung nachhaltiger Produktionsmethoden und Verringerung des ökologischen Fußabdrucks.</a:t>
            </a:r>
          </a:p>
        </p:txBody>
      </p:sp>
      <p:pic>
        <p:nvPicPr>
          <p:cNvPr id="4" name="Picture 2">
            <a:extLst>
              <a:ext uri="{FF2B5EF4-FFF2-40B4-BE49-F238E27FC236}">
                <a16:creationId xmlns:a16="http://schemas.microsoft.com/office/drawing/2014/main" id="{E7848572-02AA-B447-DA19-8AE5C931A42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01493" y="93073"/>
            <a:ext cx="1161874" cy="1161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656595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413952"/>
            <a:ext cx="10483431" cy="804265"/>
          </a:xfrm>
        </p:spPr>
        <p:txBody>
          <a:bodyPr/>
          <a:lstStyle/>
          <a:p>
            <a:r>
              <a:rPr lang="en-GB" sz="3200" dirty="0"/>
              <a:t>ANPASSUNG AN DIE ZIELE FÜR NACHHALTIGE ENTWICKLUNG</a:t>
            </a:r>
            <a:endParaRPr lang="en-IE" sz="3200"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218217"/>
            <a:ext cx="10483429" cy="4743778"/>
          </a:xfrm>
        </p:spPr>
        <p:txBody>
          <a:bodyPr/>
          <a:lstStyle/>
          <a:p>
            <a:pPr algn="just"/>
            <a:endParaRPr lang="en-GB" sz="2000" dirty="0"/>
          </a:p>
          <a:p>
            <a:pPr algn="just"/>
            <a:r>
              <a:rPr lang="en-GB" sz="2000" b="1" dirty="0">
                <a:solidFill>
                  <a:srgbClr val="0F486D"/>
                </a:solidFill>
                <a:hlinkClick r:id="rId2">
                  <a:extLst>
                    <a:ext uri="{A12FA001-AC4F-418D-AE19-62706E023703}">
                      <ahyp:hlinkClr xmlns:ahyp="http://schemas.microsoft.com/office/drawing/2018/hyperlinkcolor" val="tx"/>
                    </a:ext>
                  </a:extLst>
                </a:hlinkClick>
              </a:rPr>
              <a:t>SDG 8: Menschenwürdige Arbeit und Wirtschaftswachstum</a:t>
            </a:r>
            <a:r>
              <a:rPr lang="en-GB" sz="2000" dirty="0"/>
              <a:t>: Betont die Transparenz wirtschaftlicher Aktivitäten durch Nachhaltigkeitsberichte, die soziale Auswirkungen und Arbeitspraktiken offenlegen, um ein integratives Wirtschaftswachstum und menschenwürdige Arbeitsbedingungen zu fördern.</a:t>
            </a:r>
          </a:p>
          <a:p>
            <a:pPr algn="just"/>
            <a:endParaRPr lang="en-GB" sz="2000" dirty="0"/>
          </a:p>
          <a:p>
            <a:pPr algn="just"/>
            <a:r>
              <a:rPr lang="en-GB" sz="2000" b="1" dirty="0">
                <a:solidFill>
                  <a:srgbClr val="0F486D"/>
                </a:solidFill>
                <a:hlinkClick r:id="rId3">
                  <a:extLst>
                    <a:ext uri="{A12FA001-AC4F-418D-AE19-62706E023703}">
                      <ahyp:hlinkClr xmlns:ahyp="http://schemas.microsoft.com/office/drawing/2018/hyperlinkcolor" val="tx"/>
                    </a:ext>
                  </a:extLst>
                </a:hlinkClick>
              </a:rPr>
              <a:t>SDG 17: Partnerschaften für die Ziele</a:t>
            </a:r>
            <a:r>
              <a:rPr lang="en-GB" sz="2000" dirty="0"/>
              <a:t>: Abstimmung mit globalen Berichterstattungsstandards wie GRI, Förderung von Partnerschaften zwischen Unternehmen, Regierungen und Stakeholdern, um die Effektivität der Berichterstattung, die Transparenz und die Verantwortlichkeit für die Ziele der nachhaltigen Entwicklung zu verbessern.</a:t>
            </a:r>
          </a:p>
        </p:txBody>
      </p:sp>
      <p:pic>
        <p:nvPicPr>
          <p:cNvPr id="4" name="Picture 2">
            <a:extLst>
              <a:ext uri="{FF2B5EF4-FFF2-40B4-BE49-F238E27FC236}">
                <a16:creationId xmlns:a16="http://schemas.microsoft.com/office/drawing/2014/main" id="{CEF74CFC-EDCA-C3F0-28C6-DB5375B2103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01493" y="93073"/>
            <a:ext cx="1161874" cy="1161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8492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709012A-AC4E-C790-0A14-F105BEDC601E}"/>
              </a:ext>
            </a:extLst>
          </p:cNvPr>
          <p:cNvSpPr>
            <a:spLocks noGrp="1"/>
          </p:cNvSpPr>
          <p:nvPr>
            <p:ph type="body" sz="quarter" idx="30"/>
          </p:nvPr>
        </p:nvSpPr>
        <p:spPr>
          <a:xfrm>
            <a:off x="854282" y="674010"/>
            <a:ext cx="10483431" cy="804265"/>
          </a:xfrm>
        </p:spPr>
        <p:txBody>
          <a:bodyPr/>
          <a:lstStyle/>
          <a:p>
            <a:r>
              <a:rPr lang="en-GB" dirty="0"/>
              <a:t>ENTRECOMP-AUSRICHTUNG</a:t>
            </a:r>
            <a:endParaRPr lang="en-IE" dirty="0"/>
          </a:p>
        </p:txBody>
      </p:sp>
      <p:sp>
        <p:nvSpPr>
          <p:cNvPr id="3" name="Text Placeholder 2">
            <a:extLst>
              <a:ext uri="{FF2B5EF4-FFF2-40B4-BE49-F238E27FC236}">
                <a16:creationId xmlns:a16="http://schemas.microsoft.com/office/drawing/2014/main" id="{1C688315-4FA5-4FF6-ECB8-D0A04D1ABDC9}"/>
              </a:ext>
            </a:extLst>
          </p:cNvPr>
          <p:cNvSpPr>
            <a:spLocks noGrp="1"/>
          </p:cNvSpPr>
          <p:nvPr>
            <p:ph type="body" sz="quarter" idx="48"/>
          </p:nvPr>
        </p:nvSpPr>
        <p:spPr>
          <a:xfrm>
            <a:off x="854282" y="1560353"/>
            <a:ext cx="10483429" cy="4743778"/>
          </a:xfrm>
        </p:spPr>
        <p:txBody>
          <a:bodyPr/>
          <a:lstStyle/>
          <a:p>
            <a:pPr algn="just"/>
            <a:r>
              <a:rPr lang="en-GB" b="1" dirty="0"/>
              <a:t>3.1 Ergreifen der Initiative</a:t>
            </a:r>
            <a:r>
              <a:rPr lang="en-GB" dirty="0"/>
              <a:t>: Förderung unabhängiger Entscheidungen bei der Datenerfassung, -analyse und -berichterstattung.</a:t>
            </a:r>
          </a:p>
          <a:p>
            <a:pPr algn="just">
              <a:buFont typeface="Arial" panose="020B0604020202020204" pitchFamily="34" charset="0"/>
              <a:buChar char="•"/>
            </a:pPr>
            <a:endParaRPr lang="en-GB" dirty="0"/>
          </a:p>
          <a:p>
            <a:pPr algn="just"/>
            <a:r>
              <a:rPr lang="en-GB" b="1" dirty="0"/>
              <a:t>3.3 Umgang mit Unsicherheit, Mehrdeutigkeit und Risiken</a:t>
            </a:r>
            <a:r>
              <a:rPr lang="en-GB" dirty="0"/>
              <a:t>: Hilft bei der Entscheidungsfindung im Umgang mit komplexen Nachhaltigkeitsthemen und Herausforderungen bei der Berichterstattung.</a:t>
            </a:r>
          </a:p>
        </p:txBody>
      </p:sp>
      <p:pic>
        <p:nvPicPr>
          <p:cNvPr id="4" name="Picture 3">
            <a:extLst>
              <a:ext uri="{FF2B5EF4-FFF2-40B4-BE49-F238E27FC236}">
                <a16:creationId xmlns:a16="http://schemas.microsoft.com/office/drawing/2014/main" id="{1C5C88A1-0627-77D5-3AE0-50931A28319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43625" y="550054"/>
            <a:ext cx="1547501" cy="860600"/>
          </a:xfrm>
          <a:prstGeom prst="rect">
            <a:avLst/>
          </a:prstGeom>
        </p:spPr>
      </p:pic>
    </p:spTree>
    <p:extLst>
      <p:ext uri="{BB962C8B-B14F-4D97-AF65-F5344CB8AC3E}">
        <p14:creationId xmlns:p14="http://schemas.microsoft.com/office/powerpoint/2010/main" val="37449836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C188D5C-F187-E2D2-E477-AC9AF252A72C}"/>
              </a:ext>
            </a:extLst>
          </p:cNvPr>
          <p:cNvPicPr>
            <a:picLocks noGrp="1" noChangeAspect="1"/>
          </p:cNvPicPr>
          <p:nvPr>
            <p:ph type="pic" sz="quarter" idx="21"/>
          </p:nvPr>
        </p:nvPicPr>
        <p:blipFill rotWithShape="1">
          <a:blip r:embed="rId2"/>
          <a:srcRect l="7577" r="27611"/>
          <a:stretch/>
        </p:blipFill>
        <p:spPr>
          <a:xfrm>
            <a:off x="884606" y="0"/>
            <a:ext cx="4993772" cy="6858000"/>
          </a:xfrm>
        </p:spPr>
      </p:pic>
      <p:sp>
        <p:nvSpPr>
          <p:cNvPr id="3" name="Text Placeholder 2">
            <a:extLst>
              <a:ext uri="{FF2B5EF4-FFF2-40B4-BE49-F238E27FC236}">
                <a16:creationId xmlns:a16="http://schemas.microsoft.com/office/drawing/2014/main" id="{CA3B51A3-DEEC-6CC6-D5F9-1C2C631D895E}"/>
              </a:ext>
            </a:extLst>
          </p:cNvPr>
          <p:cNvSpPr>
            <a:spLocks noGrp="1"/>
          </p:cNvSpPr>
          <p:nvPr>
            <p:ph type="body" sz="quarter" idx="30"/>
          </p:nvPr>
        </p:nvSpPr>
        <p:spPr/>
        <p:txBody>
          <a:bodyPr/>
          <a:lstStyle/>
          <a:p>
            <a:r>
              <a:rPr lang="en-IE" dirty="0"/>
              <a:t>Weitere Ressourcen</a:t>
            </a:r>
          </a:p>
        </p:txBody>
      </p:sp>
      <p:sp>
        <p:nvSpPr>
          <p:cNvPr id="4" name="Text Placeholder 3">
            <a:extLst>
              <a:ext uri="{FF2B5EF4-FFF2-40B4-BE49-F238E27FC236}">
                <a16:creationId xmlns:a16="http://schemas.microsoft.com/office/drawing/2014/main" id="{180ACFC8-5BAC-68DB-C058-BAA52B66A4BC}"/>
              </a:ext>
            </a:extLst>
          </p:cNvPr>
          <p:cNvSpPr>
            <a:spLocks noGrp="1"/>
          </p:cNvSpPr>
          <p:nvPr>
            <p:ph type="body" sz="quarter" idx="48"/>
          </p:nvPr>
        </p:nvSpPr>
        <p:spPr>
          <a:xfrm>
            <a:off x="6484442" y="2229347"/>
            <a:ext cx="4939670" cy="3889855"/>
          </a:xfrm>
        </p:spPr>
        <p:txBody>
          <a:bodyPr/>
          <a:lstStyle/>
          <a:p>
            <a:pPr algn="just"/>
            <a:r>
              <a:rPr lang="en-GB" sz="2400" b="1" i="0" dirty="0">
                <a:effectLst/>
                <a:highlight>
                  <a:srgbClr val="FFFFFF"/>
                </a:highlight>
                <a:latin typeface="var(--artdeco-reset-typography-font-family-sans)"/>
                <a:hlinkClick r:id="rId3"/>
              </a:rPr>
              <a:t>Starten Sie mit der Berichterstattung </a:t>
            </a:r>
            <a:endParaRPr lang="en-GB" sz="2400" i="0" dirty="0">
              <a:effectLst/>
              <a:highlight>
                <a:srgbClr val="FFFFFF"/>
              </a:highlight>
              <a:latin typeface="var(--artdeco-reset-typography-font-family-sans)"/>
            </a:endParaRPr>
          </a:p>
          <a:p>
            <a:pPr algn="just"/>
            <a:endParaRPr lang="en-GB" sz="2400" dirty="0">
              <a:highlight>
                <a:srgbClr val="FFFFFF"/>
              </a:highlight>
              <a:latin typeface="var(--artdeco-reset-typography-font-family-sans)"/>
            </a:endParaRPr>
          </a:p>
          <a:p>
            <a:pPr algn="just"/>
            <a:r>
              <a:rPr lang="en-GB" sz="2400" b="1" dirty="0">
                <a:highlight>
                  <a:srgbClr val="FFFFFF"/>
                </a:highlight>
                <a:latin typeface="var(--artdeco-reset-typography-font-family-sans)"/>
                <a:hlinkClick r:id="rId4"/>
              </a:rPr>
              <a:t>Nachhaltigkeitsberichterstattung in der ESG-Ära</a:t>
            </a:r>
            <a:r>
              <a:rPr lang="en-GB" sz="2400" b="1" dirty="0">
                <a:highlight>
                  <a:srgbClr val="FFFFFF"/>
                </a:highlight>
                <a:latin typeface="var(--artdeco-reset-typography-font-family-sans)"/>
              </a:rPr>
              <a:t>: Bewährte Praktiken und aufkommende Trends</a:t>
            </a:r>
            <a:endParaRPr lang="en-GB" sz="2400" dirty="0">
              <a:highlight>
                <a:srgbClr val="FFFFFF"/>
              </a:highlight>
              <a:latin typeface="var(--artdeco-reset-typography-font-family-sans)"/>
            </a:endParaRPr>
          </a:p>
          <a:p>
            <a:pPr algn="just"/>
            <a:endParaRPr lang="en-GB" sz="2400" i="0" dirty="0">
              <a:effectLst/>
              <a:highlight>
                <a:srgbClr val="FFFFFF"/>
              </a:highlight>
              <a:latin typeface="-apple-system"/>
            </a:endParaRPr>
          </a:p>
        </p:txBody>
      </p:sp>
      <p:grpSp>
        <p:nvGrpSpPr>
          <p:cNvPr id="2" name="Graphic 4">
            <a:extLst>
              <a:ext uri="{FF2B5EF4-FFF2-40B4-BE49-F238E27FC236}">
                <a16:creationId xmlns:a16="http://schemas.microsoft.com/office/drawing/2014/main" id="{ADDD2F23-A2BD-97C8-8401-6D4C6908CA58}"/>
              </a:ext>
            </a:extLst>
          </p:cNvPr>
          <p:cNvGrpSpPr/>
          <p:nvPr/>
        </p:nvGrpSpPr>
        <p:grpSpPr>
          <a:xfrm rot="19582332">
            <a:off x="10793177" y="724193"/>
            <a:ext cx="403667" cy="780438"/>
            <a:chOff x="9129274" y="2719113"/>
            <a:chExt cx="717139" cy="1386497"/>
          </a:xfrm>
          <a:solidFill>
            <a:srgbClr val="09465E"/>
          </a:solidFill>
        </p:grpSpPr>
        <p:grpSp>
          <p:nvGrpSpPr>
            <p:cNvPr id="5" name="Graphic 4">
              <a:extLst>
                <a:ext uri="{FF2B5EF4-FFF2-40B4-BE49-F238E27FC236}">
                  <a16:creationId xmlns:a16="http://schemas.microsoft.com/office/drawing/2014/main" id="{2E694A86-1393-829F-9273-7827A187FAA5}"/>
                </a:ext>
              </a:extLst>
            </p:cNvPr>
            <p:cNvGrpSpPr/>
            <p:nvPr/>
          </p:nvGrpSpPr>
          <p:grpSpPr>
            <a:xfrm>
              <a:off x="9159507" y="2719113"/>
              <a:ext cx="446280" cy="440141"/>
              <a:chOff x="9159507" y="2719113"/>
              <a:chExt cx="446280" cy="440141"/>
            </a:xfrm>
            <a:grpFill/>
          </p:grpSpPr>
          <p:sp>
            <p:nvSpPr>
              <p:cNvPr id="15" name="Freeform 57">
                <a:extLst>
                  <a:ext uri="{FF2B5EF4-FFF2-40B4-BE49-F238E27FC236}">
                    <a16:creationId xmlns:a16="http://schemas.microsoft.com/office/drawing/2014/main" id="{68A56B80-4AF0-BE08-2454-D1477BA8FF35}"/>
                  </a:ext>
                </a:extLst>
              </p:cNvPr>
              <p:cNvSpPr/>
              <p:nvPr/>
            </p:nvSpPr>
            <p:spPr>
              <a:xfrm>
                <a:off x="9159507" y="2719113"/>
                <a:ext cx="446280" cy="440141"/>
              </a:xfrm>
              <a:custGeom>
                <a:avLst/>
                <a:gdLst>
                  <a:gd name="connsiteX0" fmla="*/ 275519 w 446280"/>
                  <a:gd name="connsiteY0" fmla="*/ 440141 h 440141"/>
                  <a:gd name="connsiteX1" fmla="*/ 256120 w 446280"/>
                  <a:gd name="connsiteY1" fmla="*/ 425920 h 440141"/>
                  <a:gd name="connsiteX2" fmla="*/ 270345 w 446280"/>
                  <a:gd name="connsiteY2" fmla="*/ 402649 h 440141"/>
                  <a:gd name="connsiteX3" fmla="*/ 384154 w 446280"/>
                  <a:gd name="connsiteY3" fmla="*/ 316029 h 440141"/>
                  <a:gd name="connsiteX4" fmla="*/ 402261 w 446280"/>
                  <a:gd name="connsiteY4" fmla="*/ 176402 h 440141"/>
                  <a:gd name="connsiteX5" fmla="*/ 316903 w 446280"/>
                  <a:gd name="connsiteY5" fmla="*/ 63925 h 440141"/>
                  <a:gd name="connsiteX6" fmla="*/ 64713 w 446280"/>
                  <a:gd name="connsiteY6" fmla="*/ 131153 h 440141"/>
                  <a:gd name="connsiteX7" fmla="*/ 46607 w 446280"/>
                  <a:gd name="connsiteY7" fmla="*/ 270779 h 440141"/>
                  <a:gd name="connsiteX8" fmla="*/ 131964 w 446280"/>
                  <a:gd name="connsiteY8" fmla="*/ 383256 h 440141"/>
                  <a:gd name="connsiteX9" fmla="*/ 174642 w 446280"/>
                  <a:gd name="connsiteY9" fmla="*/ 401356 h 440141"/>
                  <a:gd name="connsiteX10" fmla="*/ 187575 w 446280"/>
                  <a:gd name="connsiteY10" fmla="*/ 425920 h 440141"/>
                  <a:gd name="connsiteX11" fmla="*/ 163003 w 446280"/>
                  <a:gd name="connsiteY11" fmla="*/ 438848 h 440141"/>
                  <a:gd name="connsiteX12" fmla="*/ 111271 w 446280"/>
                  <a:gd name="connsiteY12" fmla="*/ 416870 h 440141"/>
                  <a:gd name="connsiteX13" fmla="*/ 7808 w 446280"/>
                  <a:gd name="connsiteY13" fmla="*/ 281122 h 440141"/>
                  <a:gd name="connsiteX14" fmla="*/ 29794 w 446280"/>
                  <a:gd name="connsiteY14" fmla="*/ 111760 h 440141"/>
                  <a:gd name="connsiteX15" fmla="*/ 335010 w 446280"/>
                  <a:gd name="connsiteY15" fmla="*/ 30311 h 440141"/>
                  <a:gd name="connsiteX16" fmla="*/ 438473 w 446280"/>
                  <a:gd name="connsiteY16" fmla="*/ 166059 h 440141"/>
                  <a:gd name="connsiteX17" fmla="*/ 416487 w 446280"/>
                  <a:gd name="connsiteY17" fmla="*/ 335421 h 440141"/>
                  <a:gd name="connsiteX18" fmla="*/ 278105 w 446280"/>
                  <a:gd name="connsiteY18" fmla="*/ 440141 h 440141"/>
                  <a:gd name="connsiteX19" fmla="*/ 275519 w 446280"/>
                  <a:gd name="connsiteY19" fmla="*/ 440141 h 44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6280" h="440141">
                    <a:moveTo>
                      <a:pt x="275519" y="440141"/>
                    </a:moveTo>
                    <a:cubicBezTo>
                      <a:pt x="266466" y="440141"/>
                      <a:pt x="258705" y="433677"/>
                      <a:pt x="256120" y="425920"/>
                    </a:cubicBezTo>
                    <a:cubicBezTo>
                      <a:pt x="253533" y="415577"/>
                      <a:pt x="259999" y="405234"/>
                      <a:pt x="270345" y="402649"/>
                    </a:cubicBezTo>
                    <a:cubicBezTo>
                      <a:pt x="318197" y="389720"/>
                      <a:pt x="359582" y="359985"/>
                      <a:pt x="384154" y="316029"/>
                    </a:cubicBezTo>
                    <a:cubicBezTo>
                      <a:pt x="408727" y="273365"/>
                      <a:pt x="415194" y="222944"/>
                      <a:pt x="402261" y="176402"/>
                    </a:cubicBezTo>
                    <a:cubicBezTo>
                      <a:pt x="389328" y="128567"/>
                      <a:pt x="359582" y="88489"/>
                      <a:pt x="316903" y="63925"/>
                    </a:cubicBezTo>
                    <a:cubicBezTo>
                      <a:pt x="228960" y="12212"/>
                      <a:pt x="115151" y="43240"/>
                      <a:pt x="64713" y="131153"/>
                    </a:cubicBezTo>
                    <a:cubicBezTo>
                      <a:pt x="40141" y="173816"/>
                      <a:pt x="33674" y="224237"/>
                      <a:pt x="46607" y="270779"/>
                    </a:cubicBezTo>
                    <a:cubicBezTo>
                      <a:pt x="59540" y="318614"/>
                      <a:pt x="89285" y="358692"/>
                      <a:pt x="131964" y="383256"/>
                    </a:cubicBezTo>
                    <a:cubicBezTo>
                      <a:pt x="144896" y="391013"/>
                      <a:pt x="159123" y="397477"/>
                      <a:pt x="174642" y="401356"/>
                    </a:cubicBezTo>
                    <a:cubicBezTo>
                      <a:pt x="184989" y="403942"/>
                      <a:pt x="191455" y="415577"/>
                      <a:pt x="187575" y="425920"/>
                    </a:cubicBezTo>
                    <a:cubicBezTo>
                      <a:pt x="184989" y="436262"/>
                      <a:pt x="173349" y="442727"/>
                      <a:pt x="163003" y="438848"/>
                    </a:cubicBezTo>
                    <a:cubicBezTo>
                      <a:pt x="144896" y="433677"/>
                      <a:pt x="128084" y="425920"/>
                      <a:pt x="111271" y="416870"/>
                    </a:cubicBezTo>
                    <a:cubicBezTo>
                      <a:pt x="59540" y="387135"/>
                      <a:pt x="22034" y="338007"/>
                      <a:pt x="7808" y="281122"/>
                    </a:cubicBezTo>
                    <a:cubicBezTo>
                      <a:pt x="-7711" y="222944"/>
                      <a:pt x="48" y="163474"/>
                      <a:pt x="29794" y="111760"/>
                    </a:cubicBezTo>
                    <a:cubicBezTo>
                      <a:pt x="91872" y="4455"/>
                      <a:pt x="228960" y="-31745"/>
                      <a:pt x="335010" y="30311"/>
                    </a:cubicBezTo>
                    <a:cubicBezTo>
                      <a:pt x="386741" y="60047"/>
                      <a:pt x="424247" y="109175"/>
                      <a:pt x="438473" y="166059"/>
                    </a:cubicBezTo>
                    <a:cubicBezTo>
                      <a:pt x="453992" y="224237"/>
                      <a:pt x="446232" y="283708"/>
                      <a:pt x="416487" y="335421"/>
                    </a:cubicBezTo>
                    <a:cubicBezTo>
                      <a:pt x="386741" y="387135"/>
                      <a:pt x="337596" y="424627"/>
                      <a:pt x="278105" y="440141"/>
                    </a:cubicBezTo>
                    <a:cubicBezTo>
                      <a:pt x="278105" y="438848"/>
                      <a:pt x="276812" y="440141"/>
                      <a:pt x="275519" y="440141"/>
                    </a:cubicBezTo>
                    <a:close/>
                  </a:path>
                </a:pathLst>
              </a:custGeom>
              <a:solidFill>
                <a:srgbClr val="F99F27"/>
              </a:solidFill>
              <a:ln w="12931" cap="flat">
                <a:noFill/>
                <a:prstDash val="solid"/>
                <a:miter/>
              </a:ln>
            </p:spPr>
            <p:txBody>
              <a:bodyPr rtlCol="0" anchor="ctr"/>
              <a:lstStyle/>
              <a:p>
                <a:endParaRPr lang="en-US"/>
              </a:p>
            </p:txBody>
          </p:sp>
          <p:sp>
            <p:nvSpPr>
              <p:cNvPr id="16" name="Freeform 58">
                <a:extLst>
                  <a:ext uri="{FF2B5EF4-FFF2-40B4-BE49-F238E27FC236}">
                    <a16:creationId xmlns:a16="http://schemas.microsoft.com/office/drawing/2014/main" id="{7040D5F6-AE02-E13E-85D7-CBB88AEC4FAB}"/>
                  </a:ext>
                </a:extLst>
              </p:cNvPr>
              <p:cNvSpPr/>
              <p:nvPr/>
            </p:nvSpPr>
            <p:spPr>
              <a:xfrm>
                <a:off x="9245200" y="2800133"/>
                <a:ext cx="280068" cy="273794"/>
              </a:xfrm>
              <a:custGeom>
                <a:avLst/>
                <a:gdLst>
                  <a:gd name="connsiteX0" fmla="*/ 182066 w 280068"/>
                  <a:gd name="connsiteY0" fmla="*/ 273794 h 273794"/>
                  <a:gd name="connsiteX1" fmla="*/ 163960 w 280068"/>
                  <a:gd name="connsiteY1" fmla="*/ 260866 h 273794"/>
                  <a:gd name="connsiteX2" fmla="*/ 175599 w 280068"/>
                  <a:gd name="connsiteY2" fmla="*/ 236302 h 273794"/>
                  <a:gd name="connsiteX3" fmla="*/ 227331 w 280068"/>
                  <a:gd name="connsiteY3" fmla="*/ 192345 h 273794"/>
                  <a:gd name="connsiteX4" fmla="*/ 191119 w 280068"/>
                  <a:gd name="connsiteY4" fmla="*/ 54012 h 273794"/>
                  <a:gd name="connsiteX5" fmla="*/ 52737 w 280068"/>
                  <a:gd name="connsiteY5" fmla="*/ 90211 h 273794"/>
                  <a:gd name="connsiteX6" fmla="*/ 88949 w 280068"/>
                  <a:gd name="connsiteY6" fmla="*/ 228545 h 273794"/>
                  <a:gd name="connsiteX7" fmla="*/ 95415 w 280068"/>
                  <a:gd name="connsiteY7" fmla="*/ 254402 h 273794"/>
                  <a:gd name="connsiteX8" fmla="*/ 69550 w 280068"/>
                  <a:gd name="connsiteY8" fmla="*/ 260866 h 273794"/>
                  <a:gd name="connsiteX9" fmla="*/ 19112 w 280068"/>
                  <a:gd name="connsiteY9" fmla="*/ 69526 h 273794"/>
                  <a:gd name="connsiteX10" fmla="*/ 210518 w 280068"/>
                  <a:gd name="connsiteY10" fmla="*/ 19105 h 273794"/>
                  <a:gd name="connsiteX11" fmla="*/ 260957 w 280068"/>
                  <a:gd name="connsiteY11" fmla="*/ 210445 h 273794"/>
                  <a:gd name="connsiteX12" fmla="*/ 189826 w 280068"/>
                  <a:gd name="connsiteY12" fmla="*/ 271209 h 273794"/>
                  <a:gd name="connsiteX13" fmla="*/ 182066 w 280068"/>
                  <a:gd name="connsiteY13" fmla="*/ 273794 h 27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068" h="273794">
                    <a:moveTo>
                      <a:pt x="182066" y="273794"/>
                    </a:moveTo>
                    <a:cubicBezTo>
                      <a:pt x="174306" y="273794"/>
                      <a:pt x="166546" y="268623"/>
                      <a:pt x="163960" y="260866"/>
                    </a:cubicBezTo>
                    <a:cubicBezTo>
                      <a:pt x="160080" y="250523"/>
                      <a:pt x="165253" y="240180"/>
                      <a:pt x="175599" y="236302"/>
                    </a:cubicBezTo>
                    <a:cubicBezTo>
                      <a:pt x="197585" y="228545"/>
                      <a:pt x="215692" y="213031"/>
                      <a:pt x="227331" y="192345"/>
                    </a:cubicBezTo>
                    <a:cubicBezTo>
                      <a:pt x="255783" y="144510"/>
                      <a:pt x="238971" y="82454"/>
                      <a:pt x="191119" y="54012"/>
                    </a:cubicBezTo>
                    <a:cubicBezTo>
                      <a:pt x="143267" y="25569"/>
                      <a:pt x="81189" y="42376"/>
                      <a:pt x="52737" y="90211"/>
                    </a:cubicBezTo>
                    <a:cubicBezTo>
                      <a:pt x="24285" y="138046"/>
                      <a:pt x="41098" y="200103"/>
                      <a:pt x="88949" y="228545"/>
                    </a:cubicBezTo>
                    <a:cubicBezTo>
                      <a:pt x="98002" y="233716"/>
                      <a:pt x="101882" y="245352"/>
                      <a:pt x="95415" y="254402"/>
                    </a:cubicBezTo>
                    <a:cubicBezTo>
                      <a:pt x="90243" y="263452"/>
                      <a:pt x="78603" y="267330"/>
                      <a:pt x="69550" y="260866"/>
                    </a:cubicBezTo>
                    <a:cubicBezTo>
                      <a:pt x="2299" y="222081"/>
                      <a:pt x="-19687" y="136753"/>
                      <a:pt x="19112" y="69526"/>
                    </a:cubicBezTo>
                    <a:cubicBezTo>
                      <a:pt x="57910" y="2298"/>
                      <a:pt x="143267" y="-19680"/>
                      <a:pt x="210518" y="19105"/>
                    </a:cubicBezTo>
                    <a:cubicBezTo>
                      <a:pt x="277769" y="57890"/>
                      <a:pt x="299755" y="143218"/>
                      <a:pt x="260957" y="210445"/>
                    </a:cubicBezTo>
                    <a:cubicBezTo>
                      <a:pt x="245437" y="237595"/>
                      <a:pt x="219571" y="259573"/>
                      <a:pt x="189826" y="271209"/>
                    </a:cubicBezTo>
                    <a:cubicBezTo>
                      <a:pt x="185945" y="272501"/>
                      <a:pt x="183359" y="273794"/>
                      <a:pt x="182066" y="273794"/>
                    </a:cubicBezTo>
                    <a:close/>
                  </a:path>
                </a:pathLst>
              </a:custGeom>
              <a:solidFill>
                <a:srgbClr val="F99F27"/>
              </a:solidFill>
              <a:ln w="12931" cap="flat">
                <a:noFill/>
                <a:prstDash val="solid"/>
                <a:miter/>
              </a:ln>
            </p:spPr>
            <p:txBody>
              <a:bodyPr rtlCol="0" anchor="ctr"/>
              <a:lstStyle/>
              <a:p>
                <a:endParaRPr lang="en-US"/>
              </a:p>
            </p:txBody>
          </p:sp>
        </p:grpSp>
        <p:grpSp>
          <p:nvGrpSpPr>
            <p:cNvPr id="7" name="Graphic 4">
              <a:extLst>
                <a:ext uri="{FF2B5EF4-FFF2-40B4-BE49-F238E27FC236}">
                  <a16:creationId xmlns:a16="http://schemas.microsoft.com/office/drawing/2014/main" id="{BF3BC7D6-DAA7-8834-DCC3-CD0C29219433}"/>
                </a:ext>
              </a:extLst>
            </p:cNvPr>
            <p:cNvGrpSpPr/>
            <p:nvPr/>
          </p:nvGrpSpPr>
          <p:grpSpPr>
            <a:xfrm>
              <a:off x="9129274" y="2893887"/>
              <a:ext cx="717139" cy="1211724"/>
              <a:chOff x="9129274" y="2893887"/>
              <a:chExt cx="717139" cy="1211724"/>
            </a:xfrm>
            <a:grpFill/>
          </p:grpSpPr>
          <p:sp>
            <p:nvSpPr>
              <p:cNvPr id="8" name="Freeform 50">
                <a:extLst>
                  <a:ext uri="{FF2B5EF4-FFF2-40B4-BE49-F238E27FC236}">
                    <a16:creationId xmlns:a16="http://schemas.microsoft.com/office/drawing/2014/main" id="{0B37DDC0-DC56-3826-D642-3FE61605BCA3}"/>
                  </a:ext>
                </a:extLst>
              </p:cNvPr>
              <p:cNvSpPr/>
              <p:nvPr/>
            </p:nvSpPr>
            <p:spPr>
              <a:xfrm>
                <a:off x="9129274" y="3281518"/>
                <a:ext cx="222449" cy="606896"/>
              </a:xfrm>
              <a:custGeom>
                <a:avLst/>
                <a:gdLst>
                  <a:gd name="connsiteX0" fmla="*/ 200995 w 222449"/>
                  <a:gd name="connsiteY0" fmla="*/ 606896 h 606896"/>
                  <a:gd name="connsiteX1" fmla="*/ 193235 w 222449"/>
                  <a:gd name="connsiteY1" fmla="*/ 605603 h 606896"/>
                  <a:gd name="connsiteX2" fmla="*/ 173836 w 222449"/>
                  <a:gd name="connsiteY2" fmla="*/ 593968 h 606896"/>
                  <a:gd name="connsiteX3" fmla="*/ 169956 w 222449"/>
                  <a:gd name="connsiteY3" fmla="*/ 591382 h 606896"/>
                  <a:gd name="connsiteX4" fmla="*/ 107878 w 222449"/>
                  <a:gd name="connsiteY4" fmla="*/ 531912 h 606896"/>
                  <a:gd name="connsiteX5" fmla="*/ 62613 w 222449"/>
                  <a:gd name="connsiteY5" fmla="*/ 465977 h 606896"/>
                  <a:gd name="connsiteX6" fmla="*/ 8296 w 222449"/>
                  <a:gd name="connsiteY6" fmla="*/ 326350 h 606896"/>
                  <a:gd name="connsiteX7" fmla="*/ 4415 w 222449"/>
                  <a:gd name="connsiteY7" fmla="*/ 306958 h 606896"/>
                  <a:gd name="connsiteX8" fmla="*/ 3122 w 222449"/>
                  <a:gd name="connsiteY8" fmla="*/ 303079 h 606896"/>
                  <a:gd name="connsiteX9" fmla="*/ 1829 w 222449"/>
                  <a:gd name="connsiteY9" fmla="*/ 295322 h 606896"/>
                  <a:gd name="connsiteX10" fmla="*/ 536 w 222449"/>
                  <a:gd name="connsiteY10" fmla="*/ 279808 h 606896"/>
                  <a:gd name="connsiteX11" fmla="*/ 1829 w 222449"/>
                  <a:gd name="connsiteY11" fmla="*/ 243609 h 606896"/>
                  <a:gd name="connsiteX12" fmla="*/ 1829 w 222449"/>
                  <a:gd name="connsiteY12" fmla="*/ 238437 h 606896"/>
                  <a:gd name="connsiteX13" fmla="*/ 7002 w 222449"/>
                  <a:gd name="connsiteY13" fmla="*/ 197067 h 606896"/>
                  <a:gd name="connsiteX14" fmla="*/ 9589 w 222449"/>
                  <a:gd name="connsiteY14" fmla="*/ 175088 h 606896"/>
                  <a:gd name="connsiteX15" fmla="*/ 13468 w 222449"/>
                  <a:gd name="connsiteY15" fmla="*/ 66490 h 606896"/>
                  <a:gd name="connsiteX16" fmla="*/ 13468 w 222449"/>
                  <a:gd name="connsiteY16" fmla="*/ 65197 h 606896"/>
                  <a:gd name="connsiteX17" fmla="*/ 63907 w 222449"/>
                  <a:gd name="connsiteY17" fmla="*/ 555 h 606896"/>
                  <a:gd name="connsiteX18" fmla="*/ 125984 w 222449"/>
                  <a:gd name="connsiteY18" fmla="*/ 39341 h 606896"/>
                  <a:gd name="connsiteX19" fmla="*/ 153143 w 222449"/>
                  <a:gd name="connsiteY19" fmla="*/ 177674 h 606896"/>
                  <a:gd name="connsiteX20" fmla="*/ 155730 w 222449"/>
                  <a:gd name="connsiteY20" fmla="*/ 200945 h 606896"/>
                  <a:gd name="connsiteX21" fmla="*/ 159610 w 222449"/>
                  <a:gd name="connsiteY21" fmla="*/ 238437 h 606896"/>
                  <a:gd name="connsiteX22" fmla="*/ 191942 w 222449"/>
                  <a:gd name="connsiteY22" fmla="*/ 314715 h 606896"/>
                  <a:gd name="connsiteX23" fmla="*/ 193235 w 222449"/>
                  <a:gd name="connsiteY23" fmla="*/ 341864 h 606896"/>
                  <a:gd name="connsiteX24" fmla="*/ 166076 w 222449"/>
                  <a:gd name="connsiteY24" fmla="*/ 343157 h 606896"/>
                  <a:gd name="connsiteX25" fmla="*/ 120811 w 222449"/>
                  <a:gd name="connsiteY25" fmla="*/ 243609 h 606896"/>
                  <a:gd name="connsiteX26" fmla="*/ 116931 w 222449"/>
                  <a:gd name="connsiteY26" fmla="*/ 204824 h 606896"/>
                  <a:gd name="connsiteX27" fmla="*/ 114345 w 222449"/>
                  <a:gd name="connsiteY27" fmla="*/ 181553 h 606896"/>
                  <a:gd name="connsiteX28" fmla="*/ 89773 w 222449"/>
                  <a:gd name="connsiteY28" fmla="*/ 52269 h 606896"/>
                  <a:gd name="connsiteX29" fmla="*/ 69080 w 222449"/>
                  <a:gd name="connsiteY29" fmla="*/ 39341 h 606896"/>
                  <a:gd name="connsiteX30" fmla="*/ 52267 w 222449"/>
                  <a:gd name="connsiteY30" fmla="*/ 61319 h 606896"/>
                  <a:gd name="connsiteX31" fmla="*/ 52267 w 222449"/>
                  <a:gd name="connsiteY31" fmla="*/ 62611 h 606896"/>
                  <a:gd name="connsiteX32" fmla="*/ 48387 w 222449"/>
                  <a:gd name="connsiteY32" fmla="*/ 180260 h 606896"/>
                  <a:gd name="connsiteX33" fmla="*/ 45801 w 222449"/>
                  <a:gd name="connsiteY33" fmla="*/ 202238 h 606896"/>
                  <a:gd name="connsiteX34" fmla="*/ 40628 w 222449"/>
                  <a:gd name="connsiteY34" fmla="*/ 242316 h 606896"/>
                  <a:gd name="connsiteX35" fmla="*/ 40628 w 222449"/>
                  <a:gd name="connsiteY35" fmla="*/ 246195 h 606896"/>
                  <a:gd name="connsiteX36" fmla="*/ 39334 w 222449"/>
                  <a:gd name="connsiteY36" fmla="*/ 277223 h 606896"/>
                  <a:gd name="connsiteX37" fmla="*/ 40628 w 222449"/>
                  <a:gd name="connsiteY37" fmla="*/ 288858 h 606896"/>
                  <a:gd name="connsiteX38" fmla="*/ 41921 w 222449"/>
                  <a:gd name="connsiteY38" fmla="*/ 296615 h 606896"/>
                  <a:gd name="connsiteX39" fmla="*/ 43214 w 222449"/>
                  <a:gd name="connsiteY39" fmla="*/ 300494 h 606896"/>
                  <a:gd name="connsiteX40" fmla="*/ 47094 w 222449"/>
                  <a:gd name="connsiteY40" fmla="*/ 317301 h 606896"/>
                  <a:gd name="connsiteX41" fmla="*/ 97532 w 222449"/>
                  <a:gd name="connsiteY41" fmla="*/ 446584 h 606896"/>
                  <a:gd name="connsiteX42" fmla="*/ 138917 w 222449"/>
                  <a:gd name="connsiteY42" fmla="*/ 507348 h 606896"/>
                  <a:gd name="connsiteX43" fmla="*/ 194528 w 222449"/>
                  <a:gd name="connsiteY43" fmla="*/ 561647 h 606896"/>
                  <a:gd name="connsiteX44" fmla="*/ 198408 w 222449"/>
                  <a:gd name="connsiteY44" fmla="*/ 564233 h 606896"/>
                  <a:gd name="connsiteX45" fmla="*/ 211341 w 222449"/>
                  <a:gd name="connsiteY45" fmla="*/ 571990 h 606896"/>
                  <a:gd name="connsiteX46" fmla="*/ 220394 w 222449"/>
                  <a:gd name="connsiteY46" fmla="*/ 597846 h 606896"/>
                  <a:gd name="connsiteX47" fmla="*/ 200995 w 222449"/>
                  <a:gd name="connsiteY47" fmla="*/ 606896 h 60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2449" h="606896">
                    <a:moveTo>
                      <a:pt x="200995" y="606896"/>
                    </a:moveTo>
                    <a:cubicBezTo>
                      <a:pt x="198408" y="606896"/>
                      <a:pt x="195822" y="606896"/>
                      <a:pt x="193235" y="605603"/>
                    </a:cubicBezTo>
                    <a:cubicBezTo>
                      <a:pt x="186769" y="601725"/>
                      <a:pt x="180303" y="597846"/>
                      <a:pt x="173836" y="593968"/>
                    </a:cubicBezTo>
                    <a:lnTo>
                      <a:pt x="169956" y="591382"/>
                    </a:lnTo>
                    <a:cubicBezTo>
                      <a:pt x="147970" y="574575"/>
                      <a:pt x="125984" y="553890"/>
                      <a:pt x="107878" y="531912"/>
                    </a:cubicBezTo>
                    <a:cubicBezTo>
                      <a:pt x="91066" y="511226"/>
                      <a:pt x="75546" y="489248"/>
                      <a:pt x="62613" y="465977"/>
                    </a:cubicBezTo>
                    <a:cubicBezTo>
                      <a:pt x="38041" y="422020"/>
                      <a:pt x="21229" y="376771"/>
                      <a:pt x="8296" y="326350"/>
                    </a:cubicBezTo>
                    <a:cubicBezTo>
                      <a:pt x="7002" y="319886"/>
                      <a:pt x="5709" y="313422"/>
                      <a:pt x="4415" y="306958"/>
                    </a:cubicBezTo>
                    <a:lnTo>
                      <a:pt x="3122" y="303079"/>
                    </a:lnTo>
                    <a:cubicBezTo>
                      <a:pt x="3122" y="300494"/>
                      <a:pt x="1829" y="297908"/>
                      <a:pt x="1829" y="295322"/>
                    </a:cubicBezTo>
                    <a:cubicBezTo>
                      <a:pt x="536" y="288858"/>
                      <a:pt x="536" y="283687"/>
                      <a:pt x="536" y="279808"/>
                    </a:cubicBezTo>
                    <a:cubicBezTo>
                      <a:pt x="-757" y="264294"/>
                      <a:pt x="536" y="253951"/>
                      <a:pt x="1829" y="243609"/>
                    </a:cubicBezTo>
                    <a:lnTo>
                      <a:pt x="1829" y="238437"/>
                    </a:lnTo>
                    <a:cubicBezTo>
                      <a:pt x="3122" y="222923"/>
                      <a:pt x="4415" y="209995"/>
                      <a:pt x="7002" y="197067"/>
                    </a:cubicBezTo>
                    <a:cubicBezTo>
                      <a:pt x="8296" y="189310"/>
                      <a:pt x="8296" y="182845"/>
                      <a:pt x="9589" y="175088"/>
                    </a:cubicBezTo>
                    <a:cubicBezTo>
                      <a:pt x="14762" y="132425"/>
                      <a:pt x="17348" y="97518"/>
                      <a:pt x="13468" y="66490"/>
                    </a:cubicBezTo>
                    <a:lnTo>
                      <a:pt x="13468" y="65197"/>
                    </a:lnTo>
                    <a:cubicBezTo>
                      <a:pt x="9589" y="32876"/>
                      <a:pt x="32868" y="4434"/>
                      <a:pt x="63907" y="555"/>
                    </a:cubicBezTo>
                    <a:cubicBezTo>
                      <a:pt x="91066" y="-3323"/>
                      <a:pt x="116931" y="13484"/>
                      <a:pt x="125984" y="39341"/>
                    </a:cubicBezTo>
                    <a:cubicBezTo>
                      <a:pt x="142797" y="85883"/>
                      <a:pt x="147970" y="131132"/>
                      <a:pt x="153143" y="177674"/>
                    </a:cubicBezTo>
                    <a:cubicBezTo>
                      <a:pt x="154437" y="185431"/>
                      <a:pt x="154437" y="193188"/>
                      <a:pt x="155730" y="200945"/>
                    </a:cubicBezTo>
                    <a:cubicBezTo>
                      <a:pt x="157024" y="213874"/>
                      <a:pt x="158317" y="226802"/>
                      <a:pt x="159610" y="238437"/>
                    </a:cubicBezTo>
                    <a:cubicBezTo>
                      <a:pt x="166076" y="284980"/>
                      <a:pt x="185475" y="306958"/>
                      <a:pt x="191942" y="314715"/>
                    </a:cubicBezTo>
                    <a:cubicBezTo>
                      <a:pt x="199702" y="322472"/>
                      <a:pt x="199702" y="334107"/>
                      <a:pt x="193235" y="341864"/>
                    </a:cubicBezTo>
                    <a:cubicBezTo>
                      <a:pt x="185475" y="349622"/>
                      <a:pt x="173836" y="349622"/>
                      <a:pt x="166076" y="343157"/>
                    </a:cubicBezTo>
                    <a:cubicBezTo>
                      <a:pt x="153143" y="330229"/>
                      <a:pt x="129864" y="301786"/>
                      <a:pt x="120811" y="243609"/>
                    </a:cubicBezTo>
                    <a:cubicBezTo>
                      <a:pt x="119518" y="230680"/>
                      <a:pt x="118225" y="217752"/>
                      <a:pt x="116931" y="204824"/>
                    </a:cubicBezTo>
                    <a:cubicBezTo>
                      <a:pt x="115638" y="197067"/>
                      <a:pt x="115638" y="189310"/>
                      <a:pt x="114345" y="181553"/>
                    </a:cubicBezTo>
                    <a:cubicBezTo>
                      <a:pt x="109172" y="136303"/>
                      <a:pt x="103998" y="94932"/>
                      <a:pt x="89773" y="52269"/>
                    </a:cubicBezTo>
                    <a:cubicBezTo>
                      <a:pt x="87186" y="43219"/>
                      <a:pt x="78133" y="38048"/>
                      <a:pt x="69080" y="39341"/>
                    </a:cubicBezTo>
                    <a:cubicBezTo>
                      <a:pt x="58733" y="40633"/>
                      <a:pt x="50974" y="50976"/>
                      <a:pt x="52267" y="61319"/>
                    </a:cubicBezTo>
                    <a:lnTo>
                      <a:pt x="52267" y="62611"/>
                    </a:lnTo>
                    <a:cubicBezTo>
                      <a:pt x="56147" y="97518"/>
                      <a:pt x="53561" y="135010"/>
                      <a:pt x="48387" y="180260"/>
                    </a:cubicBezTo>
                    <a:cubicBezTo>
                      <a:pt x="47094" y="188017"/>
                      <a:pt x="47094" y="194481"/>
                      <a:pt x="45801" y="202238"/>
                    </a:cubicBezTo>
                    <a:cubicBezTo>
                      <a:pt x="44508" y="215166"/>
                      <a:pt x="41921" y="228095"/>
                      <a:pt x="40628" y="242316"/>
                    </a:cubicBezTo>
                    <a:lnTo>
                      <a:pt x="40628" y="246195"/>
                    </a:lnTo>
                    <a:cubicBezTo>
                      <a:pt x="39334" y="256537"/>
                      <a:pt x="39334" y="265587"/>
                      <a:pt x="39334" y="277223"/>
                    </a:cubicBezTo>
                    <a:cubicBezTo>
                      <a:pt x="39334" y="279808"/>
                      <a:pt x="40628" y="284980"/>
                      <a:pt x="40628" y="288858"/>
                    </a:cubicBezTo>
                    <a:cubicBezTo>
                      <a:pt x="40628" y="292737"/>
                      <a:pt x="41921" y="294030"/>
                      <a:pt x="41921" y="296615"/>
                    </a:cubicBezTo>
                    <a:lnTo>
                      <a:pt x="43214" y="300494"/>
                    </a:lnTo>
                    <a:cubicBezTo>
                      <a:pt x="44508" y="305665"/>
                      <a:pt x="45801" y="312129"/>
                      <a:pt x="47094" y="317301"/>
                    </a:cubicBezTo>
                    <a:cubicBezTo>
                      <a:pt x="58733" y="363843"/>
                      <a:pt x="75546" y="406506"/>
                      <a:pt x="97532" y="446584"/>
                    </a:cubicBezTo>
                    <a:cubicBezTo>
                      <a:pt x="109172" y="468563"/>
                      <a:pt x="123398" y="487955"/>
                      <a:pt x="138917" y="507348"/>
                    </a:cubicBezTo>
                    <a:cubicBezTo>
                      <a:pt x="155730" y="526740"/>
                      <a:pt x="175129" y="544840"/>
                      <a:pt x="194528" y="561647"/>
                    </a:cubicBezTo>
                    <a:lnTo>
                      <a:pt x="198408" y="564233"/>
                    </a:lnTo>
                    <a:cubicBezTo>
                      <a:pt x="202289" y="566818"/>
                      <a:pt x="206168" y="569404"/>
                      <a:pt x="211341" y="571990"/>
                    </a:cubicBezTo>
                    <a:cubicBezTo>
                      <a:pt x="220394" y="577161"/>
                      <a:pt x="225568" y="587504"/>
                      <a:pt x="220394" y="597846"/>
                    </a:cubicBezTo>
                    <a:cubicBezTo>
                      <a:pt x="215222" y="603018"/>
                      <a:pt x="207461" y="606896"/>
                      <a:pt x="200995" y="606896"/>
                    </a:cubicBezTo>
                    <a:close/>
                  </a:path>
                </a:pathLst>
              </a:custGeom>
              <a:grpFill/>
              <a:ln w="12931" cap="flat">
                <a:noFill/>
                <a:prstDash val="solid"/>
                <a:miter/>
              </a:ln>
            </p:spPr>
            <p:txBody>
              <a:bodyPr rtlCol="0" anchor="ctr"/>
              <a:lstStyle/>
              <a:p>
                <a:endParaRPr lang="en-US"/>
              </a:p>
            </p:txBody>
          </p:sp>
          <p:sp>
            <p:nvSpPr>
              <p:cNvPr id="9" name="Freeform 51">
                <a:extLst>
                  <a:ext uri="{FF2B5EF4-FFF2-40B4-BE49-F238E27FC236}">
                    <a16:creationId xmlns:a16="http://schemas.microsoft.com/office/drawing/2014/main" id="{E422AC8A-2950-2452-5406-E9E78D22D184}"/>
                  </a:ext>
                </a:extLst>
              </p:cNvPr>
              <p:cNvSpPr/>
              <p:nvPr/>
            </p:nvSpPr>
            <p:spPr>
              <a:xfrm>
                <a:off x="9683286" y="3335599"/>
                <a:ext cx="163004" cy="201164"/>
              </a:xfrm>
              <a:custGeom>
                <a:avLst/>
                <a:gdLst>
                  <a:gd name="connsiteX0" fmla="*/ 143605 w 163004"/>
                  <a:gd name="connsiteY0" fmla="*/ 201164 h 201164"/>
                  <a:gd name="connsiteX1" fmla="*/ 124206 w 163004"/>
                  <a:gd name="connsiteY1" fmla="*/ 181772 h 201164"/>
                  <a:gd name="connsiteX2" fmla="*/ 82820 w 163004"/>
                  <a:gd name="connsiteY2" fmla="*/ 57659 h 201164"/>
                  <a:gd name="connsiteX3" fmla="*/ 29796 w 163004"/>
                  <a:gd name="connsiteY3" fmla="*/ 44731 h 201164"/>
                  <a:gd name="connsiteX4" fmla="*/ 2636 w 163004"/>
                  <a:gd name="connsiteY4" fmla="*/ 38266 h 201164"/>
                  <a:gd name="connsiteX5" fmla="*/ 9103 w 163004"/>
                  <a:gd name="connsiteY5" fmla="*/ 11117 h 201164"/>
                  <a:gd name="connsiteX6" fmla="*/ 116445 w 163004"/>
                  <a:gd name="connsiteY6" fmla="*/ 36974 h 201164"/>
                  <a:gd name="connsiteX7" fmla="*/ 163004 w 163004"/>
                  <a:gd name="connsiteY7" fmla="*/ 181772 h 201164"/>
                  <a:gd name="connsiteX8" fmla="*/ 143605 w 163004"/>
                  <a:gd name="connsiteY8" fmla="*/ 201164 h 201164"/>
                  <a:gd name="connsiteX9" fmla="*/ 143605 w 163004"/>
                  <a:gd name="connsiteY9" fmla="*/ 201164 h 20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04" h="201164">
                    <a:moveTo>
                      <a:pt x="143605" y="201164"/>
                    </a:moveTo>
                    <a:cubicBezTo>
                      <a:pt x="133259" y="201164"/>
                      <a:pt x="124206" y="192114"/>
                      <a:pt x="124206" y="181772"/>
                    </a:cubicBezTo>
                    <a:cubicBezTo>
                      <a:pt x="124206" y="132644"/>
                      <a:pt x="108686" y="99030"/>
                      <a:pt x="82820" y="57659"/>
                    </a:cubicBezTo>
                    <a:cubicBezTo>
                      <a:pt x="71180" y="39559"/>
                      <a:pt x="47901" y="33095"/>
                      <a:pt x="29796" y="44731"/>
                    </a:cubicBezTo>
                    <a:cubicBezTo>
                      <a:pt x="20743" y="49902"/>
                      <a:pt x="9103" y="47316"/>
                      <a:pt x="2636" y="38266"/>
                    </a:cubicBezTo>
                    <a:cubicBezTo>
                      <a:pt x="-2536" y="29217"/>
                      <a:pt x="50" y="17581"/>
                      <a:pt x="9103" y="11117"/>
                    </a:cubicBezTo>
                    <a:cubicBezTo>
                      <a:pt x="45315" y="-10861"/>
                      <a:pt x="93166" y="774"/>
                      <a:pt x="116445" y="36974"/>
                    </a:cubicBezTo>
                    <a:cubicBezTo>
                      <a:pt x="144898" y="83516"/>
                      <a:pt x="163004" y="123594"/>
                      <a:pt x="163004" y="181772"/>
                    </a:cubicBezTo>
                    <a:cubicBezTo>
                      <a:pt x="163004" y="192114"/>
                      <a:pt x="155244" y="201164"/>
                      <a:pt x="143605" y="201164"/>
                    </a:cubicBezTo>
                    <a:cubicBezTo>
                      <a:pt x="143605" y="201164"/>
                      <a:pt x="143605" y="201164"/>
                      <a:pt x="143605" y="201164"/>
                    </a:cubicBezTo>
                    <a:close/>
                  </a:path>
                </a:pathLst>
              </a:custGeom>
              <a:grpFill/>
              <a:ln w="12931" cap="flat">
                <a:noFill/>
                <a:prstDash val="solid"/>
                <a:miter/>
              </a:ln>
            </p:spPr>
            <p:txBody>
              <a:bodyPr rtlCol="0" anchor="ctr"/>
              <a:lstStyle/>
              <a:p>
                <a:endParaRPr lang="en-US"/>
              </a:p>
            </p:txBody>
          </p:sp>
          <p:sp>
            <p:nvSpPr>
              <p:cNvPr id="10" name="Freeform 52">
                <a:extLst>
                  <a:ext uri="{FF2B5EF4-FFF2-40B4-BE49-F238E27FC236}">
                    <a16:creationId xmlns:a16="http://schemas.microsoft.com/office/drawing/2014/main" id="{DA16A876-0D19-D406-090F-AA9150A0A34C}"/>
                  </a:ext>
                </a:extLst>
              </p:cNvPr>
              <p:cNvSpPr/>
              <p:nvPr/>
            </p:nvSpPr>
            <p:spPr>
              <a:xfrm>
                <a:off x="9546086" y="3281250"/>
                <a:ext cx="205957" cy="241291"/>
              </a:xfrm>
              <a:custGeom>
                <a:avLst/>
                <a:gdLst>
                  <a:gd name="connsiteX0" fmla="*/ 187688 w 205957"/>
                  <a:gd name="connsiteY0" fmla="*/ 241292 h 241291"/>
                  <a:gd name="connsiteX1" fmla="*/ 168289 w 205957"/>
                  <a:gd name="connsiteY1" fmla="*/ 224485 h 241291"/>
                  <a:gd name="connsiteX2" fmla="*/ 135957 w 205957"/>
                  <a:gd name="connsiteY2" fmla="*/ 132693 h 241291"/>
                  <a:gd name="connsiteX3" fmla="*/ 108798 w 205957"/>
                  <a:gd name="connsiteY3" fmla="*/ 69344 h 241291"/>
                  <a:gd name="connsiteX4" fmla="*/ 75172 w 205957"/>
                  <a:gd name="connsiteY4" fmla="*/ 39609 h 241291"/>
                  <a:gd name="connsiteX5" fmla="*/ 35081 w 205957"/>
                  <a:gd name="connsiteY5" fmla="*/ 61587 h 241291"/>
                  <a:gd name="connsiteX6" fmla="*/ 7921 w 205957"/>
                  <a:gd name="connsiteY6" fmla="*/ 65466 h 241291"/>
                  <a:gd name="connsiteX7" fmla="*/ 4041 w 205957"/>
                  <a:gd name="connsiteY7" fmla="*/ 38316 h 241291"/>
                  <a:gd name="connsiteX8" fmla="*/ 81639 w 205957"/>
                  <a:gd name="connsiteY8" fmla="*/ 824 h 241291"/>
                  <a:gd name="connsiteX9" fmla="*/ 146303 w 205957"/>
                  <a:gd name="connsiteY9" fmla="*/ 56416 h 241291"/>
                  <a:gd name="connsiteX10" fmla="*/ 170876 w 205957"/>
                  <a:gd name="connsiteY10" fmla="*/ 115887 h 241291"/>
                  <a:gd name="connsiteX11" fmla="*/ 205794 w 205957"/>
                  <a:gd name="connsiteY11" fmla="*/ 218021 h 241291"/>
                  <a:gd name="connsiteX12" fmla="*/ 188981 w 205957"/>
                  <a:gd name="connsiteY12" fmla="*/ 239999 h 241291"/>
                  <a:gd name="connsiteX13" fmla="*/ 187688 w 205957"/>
                  <a:gd name="connsiteY13" fmla="*/ 241292 h 24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5957" h="241291">
                    <a:moveTo>
                      <a:pt x="187688" y="241292"/>
                    </a:moveTo>
                    <a:cubicBezTo>
                      <a:pt x="178635" y="241292"/>
                      <a:pt x="169582" y="234828"/>
                      <a:pt x="168289" y="224485"/>
                    </a:cubicBezTo>
                    <a:cubicBezTo>
                      <a:pt x="163115" y="189578"/>
                      <a:pt x="148890" y="161136"/>
                      <a:pt x="135957" y="132693"/>
                    </a:cubicBezTo>
                    <a:cubicBezTo>
                      <a:pt x="126904" y="113301"/>
                      <a:pt x="116557" y="92615"/>
                      <a:pt x="108798" y="69344"/>
                    </a:cubicBezTo>
                    <a:cubicBezTo>
                      <a:pt x="104918" y="59002"/>
                      <a:pt x="91985" y="42195"/>
                      <a:pt x="75172" y="39609"/>
                    </a:cubicBezTo>
                    <a:cubicBezTo>
                      <a:pt x="62239" y="37023"/>
                      <a:pt x="48013" y="44780"/>
                      <a:pt x="35081" y="61587"/>
                    </a:cubicBezTo>
                    <a:cubicBezTo>
                      <a:pt x="28614" y="70637"/>
                      <a:pt x="16974" y="71930"/>
                      <a:pt x="7921" y="65466"/>
                    </a:cubicBezTo>
                    <a:cubicBezTo>
                      <a:pt x="-1131" y="59002"/>
                      <a:pt x="-2425" y="47366"/>
                      <a:pt x="4041" y="38316"/>
                    </a:cubicBezTo>
                    <a:cubicBezTo>
                      <a:pt x="32494" y="-469"/>
                      <a:pt x="64826" y="-1762"/>
                      <a:pt x="81639" y="824"/>
                    </a:cubicBezTo>
                    <a:cubicBezTo>
                      <a:pt x="113971" y="5995"/>
                      <a:pt x="138543" y="33145"/>
                      <a:pt x="146303" y="56416"/>
                    </a:cubicBezTo>
                    <a:cubicBezTo>
                      <a:pt x="154063" y="78394"/>
                      <a:pt x="163115" y="97787"/>
                      <a:pt x="170876" y="115887"/>
                    </a:cubicBezTo>
                    <a:cubicBezTo>
                      <a:pt x="185101" y="145622"/>
                      <a:pt x="200621" y="177943"/>
                      <a:pt x="205794" y="218021"/>
                    </a:cubicBezTo>
                    <a:cubicBezTo>
                      <a:pt x="207087" y="228363"/>
                      <a:pt x="200621" y="238706"/>
                      <a:pt x="188981" y="239999"/>
                    </a:cubicBezTo>
                    <a:cubicBezTo>
                      <a:pt x="188981" y="241292"/>
                      <a:pt x="188981" y="241292"/>
                      <a:pt x="187688" y="241292"/>
                    </a:cubicBezTo>
                    <a:close/>
                  </a:path>
                </a:pathLst>
              </a:custGeom>
              <a:grpFill/>
              <a:ln w="12931" cap="flat">
                <a:noFill/>
                <a:prstDash val="solid"/>
                <a:miter/>
              </a:ln>
            </p:spPr>
            <p:txBody>
              <a:bodyPr rtlCol="0" anchor="ctr"/>
              <a:lstStyle/>
              <a:p>
                <a:endParaRPr lang="en-US"/>
              </a:p>
            </p:txBody>
          </p:sp>
          <p:sp>
            <p:nvSpPr>
              <p:cNvPr id="11" name="Freeform 53">
                <a:extLst>
                  <a:ext uri="{FF2B5EF4-FFF2-40B4-BE49-F238E27FC236}">
                    <a16:creationId xmlns:a16="http://schemas.microsoft.com/office/drawing/2014/main" id="{67E52C96-1A0D-29F6-B60D-36AA722FCB46}"/>
                  </a:ext>
                </a:extLst>
              </p:cNvPr>
              <p:cNvSpPr/>
              <p:nvPr/>
            </p:nvSpPr>
            <p:spPr>
              <a:xfrm>
                <a:off x="9432178" y="3236028"/>
                <a:ext cx="185859" cy="216700"/>
              </a:xfrm>
              <a:custGeom>
                <a:avLst/>
                <a:gdLst>
                  <a:gd name="connsiteX0" fmla="*/ 165801 w 185859"/>
                  <a:gd name="connsiteY0" fmla="*/ 216700 h 216700"/>
                  <a:gd name="connsiteX1" fmla="*/ 147695 w 185859"/>
                  <a:gd name="connsiteY1" fmla="*/ 202479 h 216700"/>
                  <a:gd name="connsiteX2" fmla="*/ 141228 w 185859"/>
                  <a:gd name="connsiteY2" fmla="*/ 179208 h 216700"/>
                  <a:gd name="connsiteX3" fmla="*/ 139935 w 185859"/>
                  <a:gd name="connsiteY3" fmla="*/ 176622 h 216700"/>
                  <a:gd name="connsiteX4" fmla="*/ 102430 w 185859"/>
                  <a:gd name="connsiteY4" fmla="*/ 64146 h 216700"/>
                  <a:gd name="connsiteX5" fmla="*/ 68805 w 185859"/>
                  <a:gd name="connsiteY5" fmla="*/ 38289 h 216700"/>
                  <a:gd name="connsiteX6" fmla="*/ 33886 w 185859"/>
                  <a:gd name="connsiteY6" fmla="*/ 55096 h 216700"/>
                  <a:gd name="connsiteX7" fmla="*/ 6727 w 185859"/>
                  <a:gd name="connsiteY7" fmla="*/ 57681 h 216700"/>
                  <a:gd name="connsiteX8" fmla="*/ 4140 w 185859"/>
                  <a:gd name="connsiteY8" fmla="*/ 30532 h 216700"/>
                  <a:gd name="connsiteX9" fmla="*/ 75271 w 185859"/>
                  <a:gd name="connsiteY9" fmla="*/ 797 h 216700"/>
                  <a:gd name="connsiteX10" fmla="*/ 138642 w 185859"/>
                  <a:gd name="connsiteY10" fmla="*/ 49924 h 216700"/>
                  <a:gd name="connsiteX11" fmla="*/ 177441 w 185859"/>
                  <a:gd name="connsiteY11" fmla="*/ 166280 h 216700"/>
                  <a:gd name="connsiteX12" fmla="*/ 178734 w 185859"/>
                  <a:gd name="connsiteY12" fmla="*/ 168866 h 216700"/>
                  <a:gd name="connsiteX13" fmla="*/ 185200 w 185859"/>
                  <a:gd name="connsiteY13" fmla="*/ 192136 h 216700"/>
                  <a:gd name="connsiteX14" fmla="*/ 172268 w 185859"/>
                  <a:gd name="connsiteY14" fmla="*/ 216700 h 216700"/>
                  <a:gd name="connsiteX15" fmla="*/ 165801 w 185859"/>
                  <a:gd name="connsiteY15" fmla="*/ 216700 h 21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859" h="216700">
                    <a:moveTo>
                      <a:pt x="165801" y="216700"/>
                    </a:moveTo>
                    <a:cubicBezTo>
                      <a:pt x="158042" y="216700"/>
                      <a:pt x="150282" y="211529"/>
                      <a:pt x="147695" y="202479"/>
                    </a:cubicBezTo>
                    <a:cubicBezTo>
                      <a:pt x="145109" y="194722"/>
                      <a:pt x="142522" y="186965"/>
                      <a:pt x="141228" y="179208"/>
                    </a:cubicBezTo>
                    <a:lnTo>
                      <a:pt x="139935" y="176622"/>
                    </a:lnTo>
                    <a:cubicBezTo>
                      <a:pt x="129589" y="141716"/>
                      <a:pt x="123123" y="114566"/>
                      <a:pt x="102430" y="64146"/>
                    </a:cubicBezTo>
                    <a:cubicBezTo>
                      <a:pt x="98550" y="53803"/>
                      <a:pt x="84324" y="40875"/>
                      <a:pt x="68805" y="38289"/>
                    </a:cubicBezTo>
                    <a:cubicBezTo>
                      <a:pt x="55872" y="35703"/>
                      <a:pt x="44232" y="42167"/>
                      <a:pt x="33886" y="55096"/>
                    </a:cubicBezTo>
                    <a:cubicBezTo>
                      <a:pt x="27419" y="62853"/>
                      <a:pt x="14487" y="64146"/>
                      <a:pt x="6727" y="57681"/>
                    </a:cubicBezTo>
                    <a:cubicBezTo>
                      <a:pt x="-1033" y="51217"/>
                      <a:pt x="-2326" y="38289"/>
                      <a:pt x="4140" y="30532"/>
                    </a:cubicBezTo>
                    <a:cubicBezTo>
                      <a:pt x="23540" y="7261"/>
                      <a:pt x="49405" y="-3082"/>
                      <a:pt x="75271" y="797"/>
                    </a:cubicBezTo>
                    <a:cubicBezTo>
                      <a:pt x="102430" y="4675"/>
                      <a:pt x="128296" y="25360"/>
                      <a:pt x="138642" y="49924"/>
                    </a:cubicBezTo>
                    <a:cubicBezTo>
                      <a:pt x="159335" y="102931"/>
                      <a:pt x="167094" y="130080"/>
                      <a:pt x="177441" y="166280"/>
                    </a:cubicBezTo>
                    <a:lnTo>
                      <a:pt x="178734" y="168866"/>
                    </a:lnTo>
                    <a:cubicBezTo>
                      <a:pt x="181321" y="175330"/>
                      <a:pt x="182614" y="183087"/>
                      <a:pt x="185200" y="192136"/>
                    </a:cubicBezTo>
                    <a:cubicBezTo>
                      <a:pt x="187787" y="202479"/>
                      <a:pt x="182614" y="212822"/>
                      <a:pt x="172268" y="216700"/>
                    </a:cubicBezTo>
                    <a:cubicBezTo>
                      <a:pt x="168388" y="215408"/>
                      <a:pt x="167094" y="216700"/>
                      <a:pt x="165801" y="216700"/>
                    </a:cubicBezTo>
                    <a:close/>
                  </a:path>
                </a:pathLst>
              </a:custGeom>
              <a:grpFill/>
              <a:ln w="12931" cap="flat">
                <a:noFill/>
                <a:prstDash val="solid"/>
                <a:miter/>
              </a:ln>
            </p:spPr>
            <p:txBody>
              <a:bodyPr rtlCol="0" anchor="ctr"/>
              <a:lstStyle/>
              <a:p>
                <a:endParaRPr lang="en-US"/>
              </a:p>
            </p:txBody>
          </p:sp>
          <p:sp>
            <p:nvSpPr>
              <p:cNvPr id="12" name="Freeform 54">
                <a:extLst>
                  <a:ext uri="{FF2B5EF4-FFF2-40B4-BE49-F238E27FC236}">
                    <a16:creationId xmlns:a16="http://schemas.microsoft.com/office/drawing/2014/main" id="{8F191CEF-7EA8-CBE2-67CE-ADFAFD8B7521}"/>
                  </a:ext>
                </a:extLst>
              </p:cNvPr>
              <p:cNvSpPr/>
              <p:nvPr/>
            </p:nvSpPr>
            <p:spPr>
              <a:xfrm>
                <a:off x="9312890" y="3851649"/>
                <a:ext cx="85195" cy="252669"/>
              </a:xfrm>
              <a:custGeom>
                <a:avLst/>
                <a:gdLst>
                  <a:gd name="connsiteX0" fmla="*/ 65230 w 85195"/>
                  <a:gd name="connsiteY0" fmla="*/ 252669 h 252669"/>
                  <a:gd name="connsiteX1" fmla="*/ 45831 w 85195"/>
                  <a:gd name="connsiteY1" fmla="*/ 237155 h 252669"/>
                  <a:gd name="connsiteX2" fmla="*/ 566 w 85195"/>
                  <a:gd name="connsiteY2" fmla="*/ 23837 h 252669"/>
                  <a:gd name="connsiteX3" fmla="*/ 16086 w 85195"/>
                  <a:gd name="connsiteY3" fmla="*/ 566 h 252669"/>
                  <a:gd name="connsiteX4" fmla="*/ 39365 w 85195"/>
                  <a:gd name="connsiteY4" fmla="*/ 16080 h 252669"/>
                  <a:gd name="connsiteX5" fmla="*/ 84630 w 85195"/>
                  <a:gd name="connsiteY5" fmla="*/ 229398 h 252669"/>
                  <a:gd name="connsiteX6" fmla="*/ 69110 w 85195"/>
                  <a:gd name="connsiteY6" fmla="*/ 252669 h 252669"/>
                  <a:gd name="connsiteX7" fmla="*/ 65230 w 85195"/>
                  <a:gd name="connsiteY7" fmla="*/ 252669 h 2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95" h="252669">
                    <a:moveTo>
                      <a:pt x="65230" y="252669"/>
                    </a:moveTo>
                    <a:cubicBezTo>
                      <a:pt x="56177" y="252669"/>
                      <a:pt x="48418" y="246205"/>
                      <a:pt x="45831" y="237155"/>
                    </a:cubicBezTo>
                    <a:lnTo>
                      <a:pt x="566" y="23837"/>
                    </a:lnTo>
                    <a:cubicBezTo>
                      <a:pt x="-2021" y="13494"/>
                      <a:pt x="4446" y="3152"/>
                      <a:pt x="16086" y="566"/>
                    </a:cubicBezTo>
                    <a:cubicBezTo>
                      <a:pt x="26432" y="-2020"/>
                      <a:pt x="36778" y="4444"/>
                      <a:pt x="39365" y="16080"/>
                    </a:cubicBezTo>
                    <a:lnTo>
                      <a:pt x="84630" y="229398"/>
                    </a:lnTo>
                    <a:cubicBezTo>
                      <a:pt x="87217" y="239741"/>
                      <a:pt x="80750" y="250084"/>
                      <a:pt x="69110" y="252669"/>
                    </a:cubicBezTo>
                    <a:cubicBezTo>
                      <a:pt x="67817" y="252669"/>
                      <a:pt x="66523" y="252669"/>
                      <a:pt x="65230" y="252669"/>
                    </a:cubicBezTo>
                    <a:close/>
                  </a:path>
                </a:pathLst>
              </a:custGeom>
              <a:grpFill/>
              <a:ln w="12931" cap="flat">
                <a:noFill/>
                <a:prstDash val="solid"/>
                <a:miter/>
              </a:ln>
            </p:spPr>
            <p:txBody>
              <a:bodyPr rtlCol="0" anchor="ctr"/>
              <a:lstStyle/>
              <a:p>
                <a:endParaRPr lang="en-US"/>
              </a:p>
            </p:txBody>
          </p:sp>
          <p:sp>
            <p:nvSpPr>
              <p:cNvPr id="13" name="Freeform 55">
                <a:extLst>
                  <a:ext uri="{FF2B5EF4-FFF2-40B4-BE49-F238E27FC236}">
                    <a16:creationId xmlns:a16="http://schemas.microsoft.com/office/drawing/2014/main" id="{AAAA5955-C288-58EF-3377-D70B2EC5C20C}"/>
                  </a:ext>
                </a:extLst>
              </p:cNvPr>
              <p:cNvSpPr/>
              <p:nvPr/>
            </p:nvSpPr>
            <p:spPr>
              <a:xfrm>
                <a:off x="9682801" y="3503025"/>
                <a:ext cx="163613" cy="602585"/>
              </a:xfrm>
              <a:custGeom>
                <a:avLst/>
                <a:gdLst>
                  <a:gd name="connsiteX0" fmla="*/ 62614 w 163613"/>
                  <a:gd name="connsiteY0" fmla="*/ 601293 h 602585"/>
                  <a:gd name="connsiteX1" fmla="*/ 43215 w 163613"/>
                  <a:gd name="connsiteY1" fmla="*/ 585779 h 602585"/>
                  <a:gd name="connsiteX2" fmla="*/ 536 w 163613"/>
                  <a:gd name="connsiteY2" fmla="*/ 340140 h 602585"/>
                  <a:gd name="connsiteX3" fmla="*/ 1829 w 163613"/>
                  <a:gd name="connsiteY3" fmla="*/ 328504 h 602585"/>
                  <a:gd name="connsiteX4" fmla="*/ 5709 w 163613"/>
                  <a:gd name="connsiteY4" fmla="*/ 319454 h 602585"/>
                  <a:gd name="connsiteX5" fmla="*/ 124691 w 163613"/>
                  <a:gd name="connsiteY5" fmla="*/ 18223 h 602585"/>
                  <a:gd name="connsiteX6" fmla="*/ 145384 w 163613"/>
                  <a:gd name="connsiteY6" fmla="*/ 123 h 602585"/>
                  <a:gd name="connsiteX7" fmla="*/ 163490 w 163613"/>
                  <a:gd name="connsiteY7" fmla="*/ 20809 h 602585"/>
                  <a:gd name="connsiteX8" fmla="*/ 40628 w 163613"/>
                  <a:gd name="connsiteY8" fmla="*/ 336261 h 602585"/>
                  <a:gd name="connsiteX9" fmla="*/ 39334 w 163613"/>
                  <a:gd name="connsiteY9" fmla="*/ 340140 h 602585"/>
                  <a:gd name="connsiteX10" fmla="*/ 80719 w 163613"/>
                  <a:gd name="connsiteY10" fmla="*/ 580608 h 602585"/>
                  <a:gd name="connsiteX11" fmla="*/ 65200 w 163613"/>
                  <a:gd name="connsiteY11" fmla="*/ 602586 h 602585"/>
                  <a:gd name="connsiteX12" fmla="*/ 62614 w 163613"/>
                  <a:gd name="connsiteY12" fmla="*/ 601293 h 60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613" h="602585">
                    <a:moveTo>
                      <a:pt x="62614" y="601293"/>
                    </a:moveTo>
                    <a:cubicBezTo>
                      <a:pt x="53561" y="601293"/>
                      <a:pt x="45801" y="594829"/>
                      <a:pt x="43215" y="585779"/>
                    </a:cubicBezTo>
                    <a:lnTo>
                      <a:pt x="536" y="340140"/>
                    </a:lnTo>
                    <a:cubicBezTo>
                      <a:pt x="-757" y="336261"/>
                      <a:pt x="536" y="332383"/>
                      <a:pt x="1829" y="328504"/>
                    </a:cubicBezTo>
                    <a:lnTo>
                      <a:pt x="5709" y="319454"/>
                    </a:lnTo>
                    <a:cubicBezTo>
                      <a:pt x="57440" y="208270"/>
                      <a:pt x="120812" y="71230"/>
                      <a:pt x="124691" y="18223"/>
                    </a:cubicBezTo>
                    <a:cubicBezTo>
                      <a:pt x="125984" y="7881"/>
                      <a:pt x="135038" y="-1169"/>
                      <a:pt x="145384" y="123"/>
                    </a:cubicBezTo>
                    <a:cubicBezTo>
                      <a:pt x="155730" y="1416"/>
                      <a:pt x="164783" y="10466"/>
                      <a:pt x="163490" y="20809"/>
                    </a:cubicBezTo>
                    <a:cubicBezTo>
                      <a:pt x="159610" y="81572"/>
                      <a:pt x="96239" y="216027"/>
                      <a:pt x="40628" y="336261"/>
                    </a:cubicBezTo>
                    <a:lnTo>
                      <a:pt x="39334" y="340140"/>
                    </a:lnTo>
                    <a:lnTo>
                      <a:pt x="80719" y="580608"/>
                    </a:lnTo>
                    <a:cubicBezTo>
                      <a:pt x="82013" y="590950"/>
                      <a:pt x="75547" y="601293"/>
                      <a:pt x="65200" y="602586"/>
                    </a:cubicBezTo>
                    <a:cubicBezTo>
                      <a:pt x="65200" y="601293"/>
                      <a:pt x="63907" y="601293"/>
                      <a:pt x="62614" y="601293"/>
                    </a:cubicBezTo>
                    <a:close/>
                  </a:path>
                </a:pathLst>
              </a:custGeom>
              <a:grpFill/>
              <a:ln w="12931" cap="flat">
                <a:noFill/>
                <a:prstDash val="solid"/>
                <a:miter/>
              </a:ln>
            </p:spPr>
            <p:txBody>
              <a:bodyPr rtlCol="0" anchor="ctr"/>
              <a:lstStyle/>
              <a:p>
                <a:endParaRPr lang="en-US"/>
              </a:p>
            </p:txBody>
          </p:sp>
          <p:sp>
            <p:nvSpPr>
              <p:cNvPr id="14" name="Freeform 56">
                <a:extLst>
                  <a:ext uri="{FF2B5EF4-FFF2-40B4-BE49-F238E27FC236}">
                    <a16:creationId xmlns:a16="http://schemas.microsoft.com/office/drawing/2014/main" id="{8478B7A1-526F-40DF-328E-067F7C5D7F5A}"/>
                  </a:ext>
                </a:extLst>
              </p:cNvPr>
              <p:cNvSpPr/>
              <p:nvPr/>
            </p:nvSpPr>
            <p:spPr>
              <a:xfrm>
                <a:off x="9285004" y="2893887"/>
                <a:ext cx="193992" cy="790259"/>
              </a:xfrm>
              <a:custGeom>
                <a:avLst/>
                <a:gdLst>
                  <a:gd name="connsiteX0" fmla="*/ 19399 w 193992"/>
                  <a:gd name="connsiteY0" fmla="*/ 790259 h 790259"/>
                  <a:gd name="connsiteX1" fmla="*/ 0 w 193992"/>
                  <a:gd name="connsiteY1" fmla="*/ 770867 h 790259"/>
                  <a:gd name="connsiteX2" fmla="*/ 11640 w 193992"/>
                  <a:gd name="connsiteY2" fmla="*/ 620898 h 790259"/>
                  <a:gd name="connsiteX3" fmla="*/ 20693 w 193992"/>
                  <a:gd name="connsiteY3" fmla="*/ 543327 h 790259"/>
                  <a:gd name="connsiteX4" fmla="*/ 25866 w 193992"/>
                  <a:gd name="connsiteY4" fmla="*/ 306738 h 790259"/>
                  <a:gd name="connsiteX5" fmla="*/ 24573 w 193992"/>
                  <a:gd name="connsiteY5" fmla="*/ 267953 h 790259"/>
                  <a:gd name="connsiteX6" fmla="*/ 23279 w 193992"/>
                  <a:gd name="connsiteY6" fmla="*/ 183919 h 790259"/>
                  <a:gd name="connsiteX7" fmla="*/ 38799 w 193992"/>
                  <a:gd name="connsiteY7" fmla="*/ 48171 h 790259"/>
                  <a:gd name="connsiteX8" fmla="*/ 115103 w 193992"/>
                  <a:gd name="connsiteY8" fmla="*/ 1628 h 790259"/>
                  <a:gd name="connsiteX9" fmla="*/ 162955 w 193992"/>
                  <a:gd name="connsiteY9" fmla="*/ 71442 h 790259"/>
                  <a:gd name="connsiteX10" fmla="*/ 161661 w 193992"/>
                  <a:gd name="connsiteY10" fmla="*/ 177454 h 790259"/>
                  <a:gd name="connsiteX11" fmla="*/ 170714 w 193992"/>
                  <a:gd name="connsiteY11" fmla="*/ 256317 h 790259"/>
                  <a:gd name="connsiteX12" fmla="*/ 175887 w 193992"/>
                  <a:gd name="connsiteY12" fmla="*/ 296395 h 790259"/>
                  <a:gd name="connsiteX13" fmla="*/ 187526 w 193992"/>
                  <a:gd name="connsiteY13" fmla="*/ 419215 h 790259"/>
                  <a:gd name="connsiteX14" fmla="*/ 193993 w 193992"/>
                  <a:gd name="connsiteY14" fmla="*/ 543327 h 790259"/>
                  <a:gd name="connsiteX15" fmla="*/ 175887 w 193992"/>
                  <a:gd name="connsiteY15" fmla="*/ 564013 h 790259"/>
                  <a:gd name="connsiteX16" fmla="*/ 155194 w 193992"/>
                  <a:gd name="connsiteY16" fmla="*/ 545913 h 790259"/>
                  <a:gd name="connsiteX17" fmla="*/ 148728 w 193992"/>
                  <a:gd name="connsiteY17" fmla="*/ 423093 h 790259"/>
                  <a:gd name="connsiteX18" fmla="*/ 137089 w 193992"/>
                  <a:gd name="connsiteY18" fmla="*/ 301567 h 790259"/>
                  <a:gd name="connsiteX19" fmla="*/ 131915 w 193992"/>
                  <a:gd name="connsiteY19" fmla="*/ 261489 h 790259"/>
                  <a:gd name="connsiteX20" fmla="*/ 122862 w 193992"/>
                  <a:gd name="connsiteY20" fmla="*/ 181333 h 790259"/>
                  <a:gd name="connsiteX21" fmla="*/ 124156 w 193992"/>
                  <a:gd name="connsiteY21" fmla="*/ 66270 h 790259"/>
                  <a:gd name="connsiteX22" fmla="*/ 106050 w 193992"/>
                  <a:gd name="connsiteY22" fmla="*/ 37828 h 790259"/>
                  <a:gd name="connsiteX23" fmla="*/ 87943 w 193992"/>
                  <a:gd name="connsiteY23" fmla="*/ 40413 h 790259"/>
                  <a:gd name="connsiteX24" fmla="*/ 76304 w 193992"/>
                  <a:gd name="connsiteY24" fmla="*/ 55927 h 790259"/>
                  <a:gd name="connsiteX25" fmla="*/ 62078 w 193992"/>
                  <a:gd name="connsiteY25" fmla="*/ 182626 h 790259"/>
                  <a:gd name="connsiteX26" fmla="*/ 63371 w 193992"/>
                  <a:gd name="connsiteY26" fmla="*/ 265367 h 790259"/>
                  <a:gd name="connsiteX27" fmla="*/ 64664 w 193992"/>
                  <a:gd name="connsiteY27" fmla="*/ 304152 h 790259"/>
                  <a:gd name="connsiteX28" fmla="*/ 59492 w 193992"/>
                  <a:gd name="connsiteY28" fmla="*/ 543327 h 790259"/>
                  <a:gd name="connsiteX29" fmla="*/ 50438 w 193992"/>
                  <a:gd name="connsiteY29" fmla="*/ 624776 h 790259"/>
                  <a:gd name="connsiteX30" fmla="*/ 38799 w 193992"/>
                  <a:gd name="connsiteY30" fmla="*/ 768281 h 790259"/>
                  <a:gd name="connsiteX31" fmla="*/ 19399 w 193992"/>
                  <a:gd name="connsiteY31" fmla="*/ 790259 h 79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3992" h="790259">
                    <a:moveTo>
                      <a:pt x="19399" y="790259"/>
                    </a:moveTo>
                    <a:cubicBezTo>
                      <a:pt x="9053" y="790259"/>
                      <a:pt x="0" y="781209"/>
                      <a:pt x="0" y="770867"/>
                    </a:cubicBezTo>
                    <a:cubicBezTo>
                      <a:pt x="0" y="697175"/>
                      <a:pt x="6466" y="658390"/>
                      <a:pt x="11640" y="620898"/>
                    </a:cubicBezTo>
                    <a:cubicBezTo>
                      <a:pt x="15520" y="597627"/>
                      <a:pt x="18106" y="574355"/>
                      <a:pt x="20693" y="543327"/>
                    </a:cubicBezTo>
                    <a:cubicBezTo>
                      <a:pt x="25866" y="461879"/>
                      <a:pt x="27159" y="384308"/>
                      <a:pt x="25866" y="306738"/>
                    </a:cubicBezTo>
                    <a:cubicBezTo>
                      <a:pt x="25866" y="293810"/>
                      <a:pt x="25866" y="280881"/>
                      <a:pt x="24573" y="267953"/>
                    </a:cubicBezTo>
                    <a:cubicBezTo>
                      <a:pt x="24573" y="240803"/>
                      <a:pt x="23279" y="212361"/>
                      <a:pt x="23279" y="183919"/>
                    </a:cubicBezTo>
                    <a:cubicBezTo>
                      <a:pt x="23279" y="134791"/>
                      <a:pt x="28452" y="89541"/>
                      <a:pt x="38799" y="48171"/>
                    </a:cubicBezTo>
                    <a:cubicBezTo>
                      <a:pt x="46559" y="14557"/>
                      <a:pt x="81477" y="-6129"/>
                      <a:pt x="115103" y="1628"/>
                    </a:cubicBezTo>
                    <a:cubicBezTo>
                      <a:pt x="146141" y="9385"/>
                      <a:pt x="166834" y="39121"/>
                      <a:pt x="162955" y="71442"/>
                    </a:cubicBezTo>
                    <a:cubicBezTo>
                      <a:pt x="157781" y="105055"/>
                      <a:pt x="157781" y="138669"/>
                      <a:pt x="161661" y="177454"/>
                    </a:cubicBezTo>
                    <a:cubicBezTo>
                      <a:pt x="164247" y="203311"/>
                      <a:pt x="166834" y="229168"/>
                      <a:pt x="170714" y="256317"/>
                    </a:cubicBezTo>
                    <a:cubicBezTo>
                      <a:pt x="172007" y="269246"/>
                      <a:pt x="173301" y="283467"/>
                      <a:pt x="175887" y="296395"/>
                    </a:cubicBezTo>
                    <a:cubicBezTo>
                      <a:pt x="181060" y="337766"/>
                      <a:pt x="184940" y="379137"/>
                      <a:pt x="187526" y="419215"/>
                    </a:cubicBezTo>
                    <a:cubicBezTo>
                      <a:pt x="191406" y="461879"/>
                      <a:pt x="192700" y="505835"/>
                      <a:pt x="193993" y="543327"/>
                    </a:cubicBezTo>
                    <a:cubicBezTo>
                      <a:pt x="193993" y="553670"/>
                      <a:pt x="186234" y="562720"/>
                      <a:pt x="175887" y="564013"/>
                    </a:cubicBezTo>
                    <a:cubicBezTo>
                      <a:pt x="165540" y="564013"/>
                      <a:pt x="156488" y="556256"/>
                      <a:pt x="155194" y="545913"/>
                    </a:cubicBezTo>
                    <a:cubicBezTo>
                      <a:pt x="153901" y="508421"/>
                      <a:pt x="151315" y="465757"/>
                      <a:pt x="148728" y="423093"/>
                    </a:cubicBezTo>
                    <a:cubicBezTo>
                      <a:pt x="146141" y="383015"/>
                      <a:pt x="142261" y="341645"/>
                      <a:pt x="137089" y="301567"/>
                    </a:cubicBezTo>
                    <a:cubicBezTo>
                      <a:pt x="135795" y="288638"/>
                      <a:pt x="134502" y="274417"/>
                      <a:pt x="131915" y="261489"/>
                    </a:cubicBezTo>
                    <a:cubicBezTo>
                      <a:pt x="128036" y="234339"/>
                      <a:pt x="125449" y="207190"/>
                      <a:pt x="122862" y="181333"/>
                    </a:cubicBezTo>
                    <a:cubicBezTo>
                      <a:pt x="118982" y="138669"/>
                      <a:pt x="118982" y="102470"/>
                      <a:pt x="124156" y="66270"/>
                    </a:cubicBezTo>
                    <a:cubicBezTo>
                      <a:pt x="125449" y="53342"/>
                      <a:pt x="117690" y="41706"/>
                      <a:pt x="106050" y="37828"/>
                    </a:cubicBezTo>
                    <a:cubicBezTo>
                      <a:pt x="99583" y="36535"/>
                      <a:pt x="93117" y="37828"/>
                      <a:pt x="87943" y="40413"/>
                    </a:cubicBezTo>
                    <a:cubicBezTo>
                      <a:pt x="82771" y="44292"/>
                      <a:pt x="78891" y="49463"/>
                      <a:pt x="76304" y="55927"/>
                    </a:cubicBezTo>
                    <a:cubicBezTo>
                      <a:pt x="67251" y="93420"/>
                      <a:pt x="62078" y="136084"/>
                      <a:pt x="62078" y="182626"/>
                    </a:cubicBezTo>
                    <a:cubicBezTo>
                      <a:pt x="62078" y="211068"/>
                      <a:pt x="62078" y="238218"/>
                      <a:pt x="63371" y="265367"/>
                    </a:cubicBezTo>
                    <a:cubicBezTo>
                      <a:pt x="63371" y="278296"/>
                      <a:pt x="63371" y="291224"/>
                      <a:pt x="64664" y="304152"/>
                    </a:cubicBezTo>
                    <a:cubicBezTo>
                      <a:pt x="65958" y="383015"/>
                      <a:pt x="64664" y="460586"/>
                      <a:pt x="59492" y="543327"/>
                    </a:cubicBezTo>
                    <a:cubicBezTo>
                      <a:pt x="56905" y="576941"/>
                      <a:pt x="54318" y="601505"/>
                      <a:pt x="50438" y="624776"/>
                    </a:cubicBezTo>
                    <a:cubicBezTo>
                      <a:pt x="45265" y="660976"/>
                      <a:pt x="38799" y="698468"/>
                      <a:pt x="38799" y="768281"/>
                    </a:cubicBezTo>
                    <a:cubicBezTo>
                      <a:pt x="38799" y="782502"/>
                      <a:pt x="29745" y="790259"/>
                      <a:pt x="19399" y="790259"/>
                    </a:cubicBezTo>
                    <a:close/>
                  </a:path>
                </a:pathLst>
              </a:custGeom>
              <a:grpFill/>
              <a:ln w="12931"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577880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B17EB17-C560-2F48-F127-11489A6DF023}"/>
              </a:ext>
            </a:extLst>
          </p:cNvPr>
          <p:cNvSpPr>
            <a:spLocks noGrp="1"/>
          </p:cNvSpPr>
          <p:nvPr>
            <p:ph type="body" sz="quarter" idx="30"/>
          </p:nvPr>
        </p:nvSpPr>
        <p:spPr/>
        <p:txBody>
          <a:bodyPr/>
          <a:lstStyle/>
          <a:p>
            <a:r>
              <a:rPr lang="en-US" dirty="0"/>
              <a:t>Verfolgen Sie unsere Reise hier</a:t>
            </a:r>
          </a:p>
        </p:txBody>
      </p:sp>
      <p:grpSp>
        <p:nvGrpSpPr>
          <p:cNvPr id="42" name="Group 41">
            <a:extLst>
              <a:ext uri="{FF2B5EF4-FFF2-40B4-BE49-F238E27FC236}">
                <a16:creationId xmlns:a16="http://schemas.microsoft.com/office/drawing/2014/main" id="{4FB419A5-7108-66DE-8067-5F740F693A63}"/>
              </a:ext>
            </a:extLst>
          </p:cNvPr>
          <p:cNvGrpSpPr/>
          <p:nvPr/>
        </p:nvGrpSpPr>
        <p:grpSpPr>
          <a:xfrm>
            <a:off x="902897" y="4544736"/>
            <a:ext cx="1381202" cy="398804"/>
            <a:chOff x="10161196" y="4811882"/>
            <a:chExt cx="972657" cy="280842"/>
          </a:xfrm>
        </p:grpSpPr>
        <p:grpSp>
          <p:nvGrpSpPr>
            <p:cNvPr id="30" name="Graphic 3">
              <a:extLst>
                <a:ext uri="{FF2B5EF4-FFF2-40B4-BE49-F238E27FC236}">
                  <a16:creationId xmlns:a16="http://schemas.microsoft.com/office/drawing/2014/main" id="{7B77FC5E-2F2B-A7ED-E6A0-7A58CC3A8BE7}"/>
                </a:ext>
              </a:extLst>
            </p:cNvPr>
            <p:cNvGrpSpPr/>
            <p:nvPr/>
          </p:nvGrpSpPr>
          <p:grpSpPr>
            <a:xfrm>
              <a:off x="10507103" y="4811882"/>
              <a:ext cx="280634" cy="280634"/>
              <a:chOff x="-147782" y="2499889"/>
              <a:chExt cx="850463" cy="850463"/>
            </a:xfrm>
          </p:grpSpPr>
          <p:sp>
            <p:nvSpPr>
              <p:cNvPr id="31" name="Freeform 30">
                <a:extLst>
                  <a:ext uri="{FF2B5EF4-FFF2-40B4-BE49-F238E27FC236}">
                    <a16:creationId xmlns:a16="http://schemas.microsoft.com/office/drawing/2014/main" id="{3D62EE33-8C94-203E-E103-2C3774128312}"/>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2" name="Freeform 31">
                <a:hlinkClick r:id="rId3"/>
                <a:extLst>
                  <a:ext uri="{FF2B5EF4-FFF2-40B4-BE49-F238E27FC236}">
                    <a16:creationId xmlns:a16="http://schemas.microsoft.com/office/drawing/2014/main" id="{1FEF4ECC-EE55-0351-A780-87E68FC924E9}"/>
                  </a:ext>
                </a:extLst>
              </p:cNvPr>
              <p:cNvSpPr/>
              <p:nvPr/>
            </p:nvSpPr>
            <p:spPr>
              <a:xfrm>
                <a:off x="18530" y="2722899"/>
                <a:ext cx="549966" cy="447280"/>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36" name="Graphic 3">
              <a:extLst>
                <a:ext uri="{FF2B5EF4-FFF2-40B4-BE49-F238E27FC236}">
                  <a16:creationId xmlns:a16="http://schemas.microsoft.com/office/drawing/2014/main" id="{5A1AFCC3-A5FE-C79B-0902-8C62AAC6ACAD}"/>
                </a:ext>
              </a:extLst>
            </p:cNvPr>
            <p:cNvGrpSpPr/>
            <p:nvPr/>
          </p:nvGrpSpPr>
          <p:grpSpPr>
            <a:xfrm>
              <a:off x="10161196" y="4811882"/>
              <a:ext cx="280634" cy="280842"/>
              <a:chOff x="-1196056" y="2499889"/>
              <a:chExt cx="850463" cy="851093"/>
            </a:xfrm>
          </p:grpSpPr>
          <p:sp>
            <p:nvSpPr>
              <p:cNvPr id="37" name="Freeform 36">
                <a:extLst>
                  <a:ext uri="{FF2B5EF4-FFF2-40B4-BE49-F238E27FC236}">
                    <a16:creationId xmlns:a16="http://schemas.microsoft.com/office/drawing/2014/main" id="{318F1BF9-28E4-D847-4861-D0DC4FD5C9D3}"/>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38" name="Freeform 37">
                <a:hlinkClick r:id="rId4"/>
                <a:extLst>
                  <a:ext uri="{FF2B5EF4-FFF2-40B4-BE49-F238E27FC236}">
                    <a16:creationId xmlns:a16="http://schemas.microsoft.com/office/drawing/2014/main" id="{C5E46B2B-6939-E268-5BA7-62CC350C1E12}"/>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39" name="Freeform 38">
              <a:hlinkClick r:id="rId5"/>
              <a:extLst>
                <a:ext uri="{FF2B5EF4-FFF2-40B4-BE49-F238E27FC236}">
                  <a16:creationId xmlns:a16="http://schemas.microsoft.com/office/drawing/2014/main" id="{DD88B1FF-94FA-8CB2-6FC2-0745BBA05F0C}"/>
                </a:ext>
              </a:extLst>
            </p:cNvPr>
            <p:cNvSpPr/>
            <p:nvPr/>
          </p:nvSpPr>
          <p:spPr>
            <a:xfrm>
              <a:off x="10853219" y="4811882"/>
              <a:ext cx="280634" cy="280634"/>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2094D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41" name="Graphic 40" descr="World with solid fill">
              <a:extLst>
                <a:ext uri="{FF2B5EF4-FFF2-40B4-BE49-F238E27FC236}">
                  <a16:creationId xmlns:a16="http://schemas.microsoft.com/office/drawing/2014/main" id="{BACCCD9D-6F72-31D4-067A-CE32098EDA2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70498" y="4829161"/>
              <a:ext cx="246077" cy="246077"/>
            </a:xfrm>
            <a:prstGeom prst="rect">
              <a:avLst/>
            </a:prstGeom>
          </p:spPr>
        </p:pic>
      </p:grpSp>
    </p:spTree>
    <p:extLst>
      <p:ext uri="{BB962C8B-B14F-4D97-AF65-F5344CB8AC3E}">
        <p14:creationId xmlns:p14="http://schemas.microsoft.com/office/powerpoint/2010/main" val="25562553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232314-CDA0-3C49-E9C2-701D663AB40A}"/>
              </a:ext>
            </a:extLst>
          </p:cNvPr>
          <p:cNvSpPr>
            <a:spLocks noGrp="1"/>
          </p:cNvSpPr>
          <p:nvPr>
            <p:ph type="body" sz="quarter" idx="49"/>
          </p:nvPr>
        </p:nvSpPr>
        <p:spPr/>
        <p:txBody>
          <a:bodyPr/>
          <a:lstStyle/>
          <a:p>
            <a:r>
              <a:rPr lang="en-GB" dirty="0"/>
              <a:t>Erkennen von Trends</a:t>
            </a:r>
            <a:endParaRPr lang="en-IE" dirty="0"/>
          </a:p>
        </p:txBody>
      </p:sp>
      <p:sp>
        <p:nvSpPr>
          <p:cNvPr id="3" name="Text Placeholder 2">
            <a:extLst>
              <a:ext uri="{FF2B5EF4-FFF2-40B4-BE49-F238E27FC236}">
                <a16:creationId xmlns:a16="http://schemas.microsoft.com/office/drawing/2014/main" id="{55A5CA8D-954E-F090-72E9-A03F6A291272}"/>
              </a:ext>
            </a:extLst>
          </p:cNvPr>
          <p:cNvSpPr>
            <a:spLocks noGrp="1"/>
          </p:cNvSpPr>
          <p:nvPr>
            <p:ph type="body" sz="quarter" idx="50"/>
          </p:nvPr>
        </p:nvSpPr>
        <p:spPr/>
        <p:txBody>
          <a:bodyPr/>
          <a:lstStyle/>
          <a:p>
            <a:pPr algn="just"/>
            <a:r>
              <a:rPr lang="en-GB" sz="2000" dirty="0"/>
              <a:t>Die Marktanalyse hilft den Unternehmen, einen Vorsprung zu behalten, indem sie aufkommende Trends und Veränderungen im Verbraucherverhalten erkennt und so eine rasche Anpassung und die Nutzung neuer Chancen ermöglicht.</a:t>
            </a:r>
            <a:endParaRPr lang="en-IE" sz="2000" dirty="0"/>
          </a:p>
        </p:txBody>
      </p:sp>
      <p:sp>
        <p:nvSpPr>
          <p:cNvPr id="4" name="Text Placeholder 3">
            <a:extLst>
              <a:ext uri="{FF2B5EF4-FFF2-40B4-BE49-F238E27FC236}">
                <a16:creationId xmlns:a16="http://schemas.microsoft.com/office/drawing/2014/main" id="{8D7B5B1E-2430-A2BD-BC71-AE408148D056}"/>
              </a:ext>
            </a:extLst>
          </p:cNvPr>
          <p:cNvSpPr>
            <a:spLocks noGrp="1"/>
          </p:cNvSpPr>
          <p:nvPr>
            <p:ph type="body" sz="quarter" idx="51"/>
          </p:nvPr>
        </p:nvSpPr>
        <p:spPr/>
        <p:txBody>
          <a:bodyPr/>
          <a:lstStyle/>
          <a:p>
            <a:r>
              <a:rPr lang="en-GB" b="1" dirty="0"/>
              <a:t>Benchmarking</a:t>
            </a:r>
            <a:endParaRPr lang="en-IE" dirty="0"/>
          </a:p>
        </p:txBody>
      </p:sp>
      <p:sp>
        <p:nvSpPr>
          <p:cNvPr id="5" name="Text Placeholder 4">
            <a:extLst>
              <a:ext uri="{FF2B5EF4-FFF2-40B4-BE49-F238E27FC236}">
                <a16:creationId xmlns:a16="http://schemas.microsoft.com/office/drawing/2014/main" id="{1C16C44B-0026-5D00-36E6-2F0D5548AB3D}"/>
              </a:ext>
            </a:extLst>
          </p:cNvPr>
          <p:cNvSpPr>
            <a:spLocks noGrp="1"/>
          </p:cNvSpPr>
          <p:nvPr>
            <p:ph type="body" sz="quarter" idx="52"/>
          </p:nvPr>
        </p:nvSpPr>
        <p:spPr/>
        <p:txBody>
          <a:bodyPr/>
          <a:lstStyle/>
          <a:p>
            <a:pPr algn="just"/>
            <a:r>
              <a:rPr lang="en-GB" sz="2000" dirty="0"/>
              <a:t>Durch einen Leistungsvergleich mit Branchenstandards können Unternehmen Verbesserungsmöglichkeiten erkennen und sich von ihren Konkurrenten abheben.</a:t>
            </a:r>
            <a:endParaRPr lang="en-IE" sz="2000" dirty="0"/>
          </a:p>
        </p:txBody>
      </p:sp>
      <p:sp>
        <p:nvSpPr>
          <p:cNvPr id="6" name="Text Placeholder 5">
            <a:extLst>
              <a:ext uri="{FF2B5EF4-FFF2-40B4-BE49-F238E27FC236}">
                <a16:creationId xmlns:a16="http://schemas.microsoft.com/office/drawing/2014/main" id="{8D4D1F98-0CD2-0BD1-3CED-BD31B14F4FB2}"/>
              </a:ext>
            </a:extLst>
          </p:cNvPr>
          <p:cNvSpPr>
            <a:spLocks noGrp="1"/>
          </p:cNvSpPr>
          <p:nvPr>
            <p:ph type="body" sz="quarter" idx="54"/>
          </p:nvPr>
        </p:nvSpPr>
        <p:spPr/>
        <p:txBody>
          <a:bodyPr/>
          <a:lstStyle/>
          <a:p>
            <a:r>
              <a:rPr lang="en-GB" sz="3600" b="1" dirty="0"/>
              <a:t>Loyalität der Kunden</a:t>
            </a:r>
            <a:endParaRPr lang="en-IE" dirty="0"/>
          </a:p>
        </p:txBody>
      </p:sp>
      <p:sp>
        <p:nvSpPr>
          <p:cNvPr id="7" name="Text Placeholder 6">
            <a:extLst>
              <a:ext uri="{FF2B5EF4-FFF2-40B4-BE49-F238E27FC236}">
                <a16:creationId xmlns:a16="http://schemas.microsoft.com/office/drawing/2014/main" id="{38E325D3-DED9-A5C2-B5E0-EE8016629B04}"/>
              </a:ext>
            </a:extLst>
          </p:cNvPr>
          <p:cNvSpPr>
            <a:spLocks noGrp="1"/>
          </p:cNvSpPr>
          <p:nvPr>
            <p:ph type="body" sz="quarter" idx="55"/>
          </p:nvPr>
        </p:nvSpPr>
        <p:spPr/>
        <p:txBody>
          <a:bodyPr/>
          <a:lstStyle/>
          <a:p>
            <a:pPr algn="just"/>
            <a:r>
              <a:rPr lang="en-GB" sz="2000" dirty="0"/>
              <a:t>Die Ausrichtung der Produkte an den Werten der Verbraucher, insbesondere an der Nachhaltigkeit, stärkt die Kundenbindung und verbessert den Ruf der Marke.</a:t>
            </a:r>
            <a:endParaRPr lang="en-IE" sz="2000" dirty="0"/>
          </a:p>
        </p:txBody>
      </p:sp>
      <p:pic>
        <p:nvPicPr>
          <p:cNvPr id="8" name="Picture Placeholder 11">
            <a:extLst>
              <a:ext uri="{FF2B5EF4-FFF2-40B4-BE49-F238E27FC236}">
                <a16:creationId xmlns:a16="http://schemas.microsoft.com/office/drawing/2014/main" id="{E44E3822-5FC5-7761-603F-4F9EF17C27B6}"/>
              </a:ext>
            </a:extLst>
          </p:cNvPr>
          <p:cNvPicPr>
            <a:picLocks noGrp="1" noChangeAspect="1"/>
          </p:cNvPicPr>
          <p:nvPr>
            <p:ph type="pic" sz="quarter" idx="57"/>
          </p:nvPr>
        </p:nvPicPr>
        <p:blipFill>
          <a:blip r:embed="rId3" cstate="email">
            <a:extLst>
              <a:ext uri="{28A0092B-C50C-407E-A947-70E740481C1C}">
                <a14:useLocalDpi xmlns:a14="http://schemas.microsoft.com/office/drawing/2010/main"/>
              </a:ext>
            </a:extLst>
          </a:blip>
          <a:srcRect l="11877" r="11877"/>
          <a:stretch>
            <a:fillRect/>
          </a:stretch>
        </p:blipFill>
        <p:spPr>
          <a:xfrm>
            <a:off x="1449388" y="409575"/>
            <a:ext cx="1839912" cy="1608138"/>
          </a:xfrm>
        </p:spPr>
      </p:pic>
      <p:pic>
        <p:nvPicPr>
          <p:cNvPr id="10" name="Picture Placeholder 15">
            <a:extLst>
              <a:ext uri="{FF2B5EF4-FFF2-40B4-BE49-F238E27FC236}">
                <a16:creationId xmlns:a16="http://schemas.microsoft.com/office/drawing/2014/main" id="{C2794E7F-701C-B8EB-E2F8-311A77FA432A}"/>
              </a:ext>
            </a:extLst>
          </p:cNvPr>
          <p:cNvPicPr>
            <a:picLocks noGrp="1" noChangeAspect="1"/>
          </p:cNvPicPr>
          <p:nvPr>
            <p:ph type="pic" sz="quarter" idx="56"/>
          </p:nvPr>
        </p:nvPicPr>
        <p:blipFill>
          <a:blip r:embed="rId4" cstate="email">
            <a:extLst>
              <a:ext uri="{28A0092B-C50C-407E-A947-70E740481C1C}">
                <a14:useLocalDpi xmlns:a14="http://schemas.microsoft.com/office/drawing/2010/main"/>
              </a:ext>
            </a:extLst>
          </a:blip>
          <a:srcRect t="6299" b="6299"/>
          <a:stretch>
            <a:fillRect/>
          </a:stretch>
        </p:blipFill>
        <p:spPr>
          <a:xfrm>
            <a:off x="1449388" y="2506663"/>
            <a:ext cx="1839912" cy="1608137"/>
          </a:xfrm>
        </p:spPr>
      </p:pic>
      <p:pic>
        <p:nvPicPr>
          <p:cNvPr id="12" name="Picture Placeholder 13">
            <a:extLst>
              <a:ext uri="{FF2B5EF4-FFF2-40B4-BE49-F238E27FC236}">
                <a16:creationId xmlns:a16="http://schemas.microsoft.com/office/drawing/2014/main" id="{29F10386-FED2-D477-A337-AA6A3DEA7522}"/>
              </a:ext>
            </a:extLst>
          </p:cNvPr>
          <p:cNvPicPr>
            <a:picLocks noGrp="1" noChangeAspect="1"/>
          </p:cNvPicPr>
          <p:nvPr>
            <p:ph type="pic" sz="quarter" idx="23"/>
          </p:nvPr>
        </p:nvPicPr>
        <p:blipFill>
          <a:blip r:embed="rId5" cstate="email">
            <a:extLst>
              <a:ext uri="{28A0092B-C50C-407E-A947-70E740481C1C}">
                <a14:useLocalDpi xmlns:a14="http://schemas.microsoft.com/office/drawing/2010/main"/>
              </a:ext>
            </a:extLst>
          </a:blip>
          <a:srcRect t="6299" b="6299"/>
          <a:stretch>
            <a:fillRect/>
          </a:stretch>
        </p:blipFill>
        <p:spPr>
          <a:xfrm>
            <a:off x="1449388" y="4603750"/>
            <a:ext cx="1839912" cy="1608138"/>
          </a:xfrm>
        </p:spPr>
      </p:pic>
    </p:spTree>
    <p:extLst>
      <p:ext uri="{BB962C8B-B14F-4D97-AF65-F5344CB8AC3E}">
        <p14:creationId xmlns:p14="http://schemas.microsoft.com/office/powerpoint/2010/main" val="218785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7CBA107-BEAC-F59D-62F4-1EEEC06809DE}"/>
              </a:ext>
            </a:extLst>
          </p:cNvPr>
          <p:cNvSpPr>
            <a:spLocks noGrp="1"/>
          </p:cNvSpPr>
          <p:nvPr>
            <p:ph type="body" sz="quarter" idx="30"/>
          </p:nvPr>
        </p:nvSpPr>
        <p:spPr>
          <a:xfrm>
            <a:off x="6316116" y="330526"/>
            <a:ext cx="4951851" cy="845139"/>
          </a:xfrm>
        </p:spPr>
        <p:txBody>
          <a:bodyPr/>
          <a:lstStyle/>
          <a:p>
            <a:r>
              <a:rPr lang="en-IE" dirty="0"/>
              <a:t>RISIKOMINDERUNG</a:t>
            </a:r>
          </a:p>
        </p:txBody>
      </p:sp>
      <p:sp>
        <p:nvSpPr>
          <p:cNvPr id="4" name="Text Placeholder 3">
            <a:extLst>
              <a:ext uri="{FF2B5EF4-FFF2-40B4-BE49-F238E27FC236}">
                <a16:creationId xmlns:a16="http://schemas.microsoft.com/office/drawing/2014/main" id="{A6B40D5F-6C9F-5E40-179E-75F17AEA9C3B}"/>
              </a:ext>
            </a:extLst>
          </p:cNvPr>
          <p:cNvSpPr>
            <a:spLocks noGrp="1"/>
          </p:cNvSpPr>
          <p:nvPr>
            <p:ph type="body" sz="quarter" idx="48"/>
          </p:nvPr>
        </p:nvSpPr>
        <p:spPr>
          <a:xfrm>
            <a:off x="6427466" y="1175665"/>
            <a:ext cx="5140952" cy="3830128"/>
          </a:xfrm>
        </p:spPr>
        <p:txBody>
          <a:bodyPr/>
          <a:lstStyle/>
          <a:p>
            <a:pPr algn="just"/>
            <a:r>
              <a:rPr lang="en-IE" sz="1800" b="1" dirty="0"/>
              <a:t>Erkennen von Risiken: </a:t>
            </a:r>
            <a:r>
              <a:rPr lang="en-IE" sz="1800" dirty="0"/>
              <a:t>Die Marktanalyse hilft bei der Ermittlung potenzieller Marktrisiken, wie z. B. Wirtschaftsabschwünge, sich ändernde Vorschriften oder veränderte Verbraucherpräferenzen.</a:t>
            </a:r>
          </a:p>
          <a:p>
            <a:pPr algn="just"/>
            <a:endParaRPr lang="en-IE" sz="1800" dirty="0"/>
          </a:p>
          <a:p>
            <a:pPr algn="just"/>
            <a:r>
              <a:rPr lang="en-IE" sz="1800" b="1" dirty="0"/>
              <a:t>Szenario-Planung: </a:t>
            </a:r>
            <a:r>
              <a:rPr lang="en-IE" sz="1800" dirty="0"/>
              <a:t>Unternehmen können Marktanalysen für die Szenarioplanung nutzen und sich auf verschiedene Marktbedingungen vorbereiten, um ihre Widerstandsfähigkeit zu verbessern.</a:t>
            </a:r>
          </a:p>
          <a:p>
            <a:pPr algn="just"/>
            <a:endParaRPr lang="en-IE" sz="1800" dirty="0"/>
          </a:p>
          <a:p>
            <a:pPr algn="just"/>
            <a:r>
              <a:rPr lang="en-IE" sz="1800" b="1" dirty="0"/>
              <a:t>Risikomanagement-Strategien: </a:t>
            </a:r>
            <a:r>
              <a:rPr lang="en-IE" sz="1800" dirty="0"/>
              <a:t>Die Umsetzung von Strategien wie die Diversifizierung von Produktlinien oder die Erschließung neuer Märkte trägt dazu bei, die Anfälligkeit zu verringern und langfristige Stabilität zu gewährleisten.</a:t>
            </a:r>
          </a:p>
        </p:txBody>
      </p:sp>
      <p:pic>
        <p:nvPicPr>
          <p:cNvPr id="2" name="Picture Placeholder 5">
            <a:extLst>
              <a:ext uri="{FF2B5EF4-FFF2-40B4-BE49-F238E27FC236}">
                <a16:creationId xmlns:a16="http://schemas.microsoft.com/office/drawing/2014/main" id="{8C6E0A18-1996-A0AB-2EEC-8D7E3A2B78B9}"/>
              </a:ext>
            </a:extLst>
          </p:cNvPr>
          <p:cNvPicPr>
            <a:picLocks noGrp="1" noChangeAspect="1"/>
          </p:cNvPicPr>
          <p:nvPr>
            <p:ph type="pic" sz="quarter" idx="21"/>
          </p:nvPr>
        </p:nvPicPr>
        <p:blipFill>
          <a:blip r:embed="rId2" cstate="email">
            <a:extLst>
              <a:ext uri="{28A0092B-C50C-407E-A947-70E740481C1C}">
                <a14:useLocalDpi xmlns:a14="http://schemas.microsoft.com/office/drawing/2010/main"/>
              </a:ext>
            </a:extLst>
          </a:blip>
          <a:srcRect l="19379" r="19379"/>
          <a:stretch>
            <a:fillRect/>
          </a:stretch>
        </p:blipFill>
        <p:spPr>
          <a:xfrm>
            <a:off x="0" y="0"/>
            <a:ext cx="5875338" cy="6858000"/>
          </a:xfrm>
        </p:spPr>
      </p:pic>
    </p:spTree>
    <p:extLst>
      <p:ext uri="{BB962C8B-B14F-4D97-AF65-F5344CB8AC3E}">
        <p14:creationId xmlns:p14="http://schemas.microsoft.com/office/powerpoint/2010/main" val="3827521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82E06E5-861F-2834-043C-F478DCBB94C8}"/>
              </a:ext>
            </a:extLst>
          </p:cNvPr>
          <p:cNvGraphicFramePr>
            <a:graphicFrameLocks noChangeAspect="1"/>
          </p:cNvGraphicFramePr>
          <p:nvPr>
            <p:custDataLst>
              <p:tags r:id="rId1"/>
            </p:custDataLst>
            <p:extLst>
              <p:ext uri="{D42A27DB-BD31-4B8C-83A1-F6EECF244321}">
                <p14:modId xmlns:p14="http://schemas.microsoft.com/office/powerpoint/2010/main" val="70205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C6AED2C-27E4-CC45-818F-445D4452A105}"/>
              </a:ext>
            </a:extLst>
          </p:cNvPr>
          <p:cNvSpPr/>
          <p:nvPr/>
        </p:nvSpPr>
        <p:spPr>
          <a:xfrm>
            <a:off x="4776086" y="510364"/>
            <a:ext cx="3432249" cy="1071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5A3E78A-700B-CA4F-83B4-5D0535AC6C7A}"/>
              </a:ext>
            </a:extLst>
          </p:cNvPr>
          <p:cNvSpPr/>
          <p:nvPr/>
        </p:nvSpPr>
        <p:spPr>
          <a:xfrm>
            <a:off x="4423941" y="-3443729"/>
            <a:ext cx="4915922" cy="1050965"/>
          </a:xfrm>
          <a:prstGeom prst="rect">
            <a:avLst/>
          </a:prstGeom>
          <a:solidFill>
            <a:srgbClr val="7C94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69" dirty="0">
              <a:latin typeface="Montserrat" panose="00000500000000000000" pitchFamily="50" charset="0"/>
            </a:endParaRPr>
          </a:p>
        </p:txBody>
      </p:sp>
      <p:sp>
        <p:nvSpPr>
          <p:cNvPr id="66" name="Slide Number Placeholder 2">
            <a:extLst>
              <a:ext uri="{FF2B5EF4-FFF2-40B4-BE49-F238E27FC236}">
                <a16:creationId xmlns:a16="http://schemas.microsoft.com/office/drawing/2014/main" id="{E9C72276-D914-3543-9C06-3EA9336EF950}"/>
              </a:ext>
            </a:extLst>
          </p:cNvPr>
          <p:cNvSpPr txBox="1">
            <a:spLocks/>
          </p:cNvSpPr>
          <p:nvPr/>
        </p:nvSpPr>
        <p:spPr>
          <a:xfrm>
            <a:off x="11615942" y="11443924"/>
            <a:ext cx="576060" cy="430124"/>
          </a:xfrm>
          <a:prstGeom prst="rect">
            <a:avLst/>
          </a:prstGeom>
        </p:spPr>
        <p:txBody>
          <a:bodyPr vert="horz" lIns="147472" tIns="73735" rIns="147472" bIns="73735" rtlCol="0" anchor="ctr"/>
          <a:lstStyle>
            <a:defPPr>
              <a:defRPr lang="en-US"/>
            </a:defPPr>
            <a:lvl1pPr marL="0" algn="ctr" defTabSz="325892" rtl="0" eaLnBrk="1" latinLnBrk="0" hangingPunct="1">
              <a:defRPr sz="800" b="0" i="0" kern="1200">
                <a:solidFill>
                  <a:schemeClr val="tx1"/>
                </a:solidFill>
                <a:latin typeface="Calibri" panose="020F0502020204030204" pitchFamily="34" charset="0"/>
                <a:ea typeface="+mn-ea"/>
                <a:cs typeface="Calibri" panose="020F0502020204030204" pitchFamily="34" charset="0"/>
              </a:defRPr>
            </a:lvl1pPr>
            <a:lvl2pPr marL="325892" algn="l" defTabSz="325892" rtl="0" eaLnBrk="1" latinLnBrk="0" hangingPunct="1">
              <a:defRPr sz="1283" kern="1200">
                <a:solidFill>
                  <a:schemeClr val="tx1"/>
                </a:solidFill>
                <a:latin typeface="+mn-lt"/>
                <a:ea typeface="+mn-ea"/>
                <a:cs typeface="+mn-cs"/>
              </a:defRPr>
            </a:lvl2pPr>
            <a:lvl3pPr marL="651784" algn="l" defTabSz="325892" rtl="0" eaLnBrk="1" latinLnBrk="0" hangingPunct="1">
              <a:defRPr sz="1283" kern="1200">
                <a:solidFill>
                  <a:schemeClr val="tx1"/>
                </a:solidFill>
                <a:latin typeface="+mn-lt"/>
                <a:ea typeface="+mn-ea"/>
                <a:cs typeface="+mn-cs"/>
              </a:defRPr>
            </a:lvl3pPr>
            <a:lvl4pPr marL="977676" algn="l" defTabSz="325892" rtl="0" eaLnBrk="1" latinLnBrk="0" hangingPunct="1">
              <a:defRPr sz="1283" kern="1200">
                <a:solidFill>
                  <a:schemeClr val="tx1"/>
                </a:solidFill>
                <a:latin typeface="+mn-lt"/>
                <a:ea typeface="+mn-ea"/>
                <a:cs typeface="+mn-cs"/>
              </a:defRPr>
            </a:lvl4pPr>
            <a:lvl5pPr marL="1303569" algn="l" defTabSz="325892" rtl="0" eaLnBrk="1" latinLnBrk="0" hangingPunct="1">
              <a:defRPr sz="1283" kern="1200">
                <a:solidFill>
                  <a:schemeClr val="tx1"/>
                </a:solidFill>
                <a:latin typeface="+mn-lt"/>
                <a:ea typeface="+mn-ea"/>
                <a:cs typeface="+mn-cs"/>
              </a:defRPr>
            </a:lvl5pPr>
            <a:lvl6pPr marL="1629461" algn="l" defTabSz="325892" rtl="0" eaLnBrk="1" latinLnBrk="0" hangingPunct="1">
              <a:defRPr sz="1283" kern="1200">
                <a:solidFill>
                  <a:schemeClr val="tx1"/>
                </a:solidFill>
                <a:latin typeface="+mn-lt"/>
                <a:ea typeface="+mn-ea"/>
                <a:cs typeface="+mn-cs"/>
              </a:defRPr>
            </a:lvl6pPr>
            <a:lvl7pPr marL="1955353" algn="l" defTabSz="325892" rtl="0" eaLnBrk="1" latinLnBrk="0" hangingPunct="1">
              <a:defRPr sz="1283" kern="1200">
                <a:solidFill>
                  <a:schemeClr val="tx1"/>
                </a:solidFill>
                <a:latin typeface="+mn-lt"/>
                <a:ea typeface="+mn-ea"/>
                <a:cs typeface="+mn-cs"/>
              </a:defRPr>
            </a:lvl7pPr>
            <a:lvl8pPr marL="2281245" algn="l" defTabSz="325892" rtl="0" eaLnBrk="1" latinLnBrk="0" hangingPunct="1">
              <a:defRPr sz="1283" kern="1200">
                <a:solidFill>
                  <a:schemeClr val="tx1"/>
                </a:solidFill>
                <a:latin typeface="+mn-lt"/>
                <a:ea typeface="+mn-ea"/>
                <a:cs typeface="+mn-cs"/>
              </a:defRPr>
            </a:lvl8pPr>
            <a:lvl9pPr marL="2607137" algn="l" defTabSz="325892" rtl="0" eaLnBrk="1" latinLnBrk="0" hangingPunct="1">
              <a:defRPr sz="1283" kern="1200">
                <a:solidFill>
                  <a:schemeClr val="tx1"/>
                </a:solidFill>
                <a:latin typeface="+mn-lt"/>
                <a:ea typeface="+mn-ea"/>
                <a:cs typeface="+mn-cs"/>
              </a:defRPr>
            </a:lvl9pPr>
          </a:lstStyle>
          <a:p>
            <a:fld id="{CB2079F2-58AF-ED44-82D7-E04B2F6FD686}" type="slidenum">
              <a:rPr lang="en-US" sz="1291"/>
              <a:t>9</a:t>
            </a:fld>
            <a:endParaRPr lang="en-US" sz="1291" dirty="0"/>
          </a:p>
        </p:txBody>
      </p:sp>
      <p:sp>
        <p:nvSpPr>
          <p:cNvPr id="67" name="Text Placeholder 2">
            <a:extLst>
              <a:ext uri="{FF2B5EF4-FFF2-40B4-BE49-F238E27FC236}">
                <a16:creationId xmlns:a16="http://schemas.microsoft.com/office/drawing/2014/main" id="{76EC7856-B0EC-004E-A2BE-9CF77555B8D1}"/>
              </a:ext>
            </a:extLst>
          </p:cNvPr>
          <p:cNvSpPr>
            <a:spLocks noGrp="1"/>
          </p:cNvSpPr>
          <p:nvPr>
            <p:ph type="body" sz="quarter" idx="48"/>
          </p:nvPr>
        </p:nvSpPr>
        <p:spPr>
          <a:xfrm>
            <a:off x="6244792" y="2700110"/>
            <a:ext cx="5291760" cy="3505583"/>
          </a:xfrm>
        </p:spPr>
        <p:txBody>
          <a:bodyPr/>
          <a:lstStyle/>
          <a:p>
            <a:pPr algn="just"/>
            <a:r>
              <a:rPr lang="en-GB" sz="2400" dirty="0"/>
              <a:t>In diesem Abschnitt werden wir die Techniken zur Erkennung nachhaltiger Geschäftsmöglichkeiten näher erläutern. </a:t>
            </a:r>
          </a:p>
          <a:p>
            <a:pPr algn="just"/>
            <a:endParaRPr lang="en-GB" sz="2400" dirty="0"/>
          </a:p>
          <a:p>
            <a:pPr algn="just"/>
            <a:r>
              <a:rPr lang="en-GB" sz="2400" dirty="0"/>
              <a:t>Durch die Beherrschung dieser Methoden können Unternehmen ungedeckte Nachhaltigkeitsbedürfnisse erkennen und innovative Lösungen entwickeln, die einen positiven Wandel fördern. </a:t>
            </a:r>
            <a:endParaRPr lang="en-US" sz="2400" dirty="0"/>
          </a:p>
        </p:txBody>
      </p:sp>
      <p:pic>
        <p:nvPicPr>
          <p:cNvPr id="2" name="Picture Placeholder 8">
            <a:extLst>
              <a:ext uri="{FF2B5EF4-FFF2-40B4-BE49-F238E27FC236}">
                <a16:creationId xmlns:a16="http://schemas.microsoft.com/office/drawing/2014/main" id="{95107F89-1637-3FDB-A991-99454B50FF9A}"/>
              </a:ext>
            </a:extLst>
          </p:cNvPr>
          <p:cNvPicPr>
            <a:picLocks noGrp="1" noChangeAspect="1"/>
          </p:cNvPicPr>
          <p:nvPr>
            <p:ph type="pic" sz="quarter" idx="21"/>
          </p:nvPr>
        </p:nvPicPr>
        <p:blipFill>
          <a:blip r:embed="rId6" cstate="email">
            <a:extLst>
              <a:ext uri="{28A0092B-C50C-407E-A947-70E740481C1C}">
                <a14:useLocalDpi xmlns:a14="http://schemas.microsoft.com/office/drawing/2010/main"/>
              </a:ext>
            </a:extLst>
          </a:blip>
          <a:srcRect l="25723" r="25723"/>
          <a:stretch/>
        </p:blipFill>
        <p:spPr>
          <a:xfrm>
            <a:off x="884238" y="0"/>
            <a:ext cx="4994275" cy="6858000"/>
          </a:xfrm>
        </p:spPr>
      </p:pic>
      <p:sp>
        <p:nvSpPr>
          <p:cNvPr id="8" name="Text Placeholder 7">
            <a:extLst>
              <a:ext uri="{FF2B5EF4-FFF2-40B4-BE49-F238E27FC236}">
                <a16:creationId xmlns:a16="http://schemas.microsoft.com/office/drawing/2014/main" id="{71FCCA58-E6AE-D030-CB6C-0809439C7D2B}"/>
              </a:ext>
            </a:extLst>
          </p:cNvPr>
          <p:cNvSpPr>
            <a:spLocks noGrp="1"/>
          </p:cNvSpPr>
          <p:nvPr>
            <p:ph type="body" sz="quarter" idx="30"/>
          </p:nvPr>
        </p:nvSpPr>
        <p:spPr>
          <a:xfrm>
            <a:off x="4890795" y="204952"/>
            <a:ext cx="7012171" cy="2081048"/>
          </a:xfrm>
        </p:spPr>
        <p:txBody>
          <a:bodyPr/>
          <a:lstStyle/>
          <a:p>
            <a:r>
              <a:rPr lang="en-GB" dirty="0"/>
              <a:t>TECHNIKEN ZUR ERKENNUNG NACHHALTIGER GESCHÄFTSMÖGLICHKEITEN</a:t>
            </a:r>
            <a:endParaRPr lang="en-US" dirty="0"/>
          </a:p>
        </p:txBody>
      </p:sp>
    </p:spTree>
    <p:extLst>
      <p:ext uri="{BB962C8B-B14F-4D97-AF65-F5344CB8AC3E}">
        <p14:creationId xmlns:p14="http://schemas.microsoft.com/office/powerpoint/2010/main" val="2947667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Red Violet">
      <a:dk1>
        <a:sysClr val="windowText" lastClr="000000"/>
      </a:dk1>
      <a:lt1>
        <a:sysClr val="window" lastClr="FFFFFF"/>
      </a:lt1>
      <a:dk2>
        <a:srgbClr val="454551"/>
      </a:dk2>
      <a:lt2>
        <a:srgbClr val="D8D9DC"/>
      </a:lt2>
      <a:accent1>
        <a:srgbClr val="E32D91"/>
      </a:accent1>
      <a:accent2>
        <a:srgbClr val="C830CC"/>
      </a:accent2>
      <a:accent3>
        <a:srgbClr val="4EA6DC"/>
      </a:accent3>
      <a:accent4>
        <a:srgbClr val="4775E7"/>
      </a:accent4>
      <a:accent5>
        <a:srgbClr val="8971E1"/>
      </a:accent5>
      <a:accent6>
        <a:srgbClr val="D54773"/>
      </a:accent6>
      <a:hlink>
        <a:srgbClr val="6B9F25"/>
      </a:hlink>
      <a:folHlink>
        <a:srgbClr val="8C8C8C"/>
      </a:folHlink>
    </a:clrScheme>
    <a:fontScheme name="Century Schoolbook">
      <a:majorFont>
        <a:latin typeface="Century Schoolbook" panose="02040604050505020304"/>
        <a:ea typeface=""/>
        <a:cs typeface=""/>
        <a:font script="Jpan" typeface="ＭＳ Ｐ明朝"/>
        <a:font script="Hang" typeface="휴먼매직체"/>
        <a:font script="Hans" typeface="华文楷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Schoolbook" panose="02040604050505020304"/>
        <a:ea typeface=""/>
        <a:cs typeface=""/>
        <a:font script="Jpan" typeface="ＭＳ Ｐ明朝"/>
        <a:font script="Hang" typeface="휴먼매직체"/>
        <a:font script="Hans" typeface="宋体"/>
        <a:font script="Hant" typeface="新細明體"/>
        <a:font script="Arab" typeface="Times New Roman"/>
        <a:font script="Hebr" typeface="Times New Roman"/>
        <a:font script="Thai" typeface="Kodchiang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gazine Layout 01 - AE_CA_v4" id="{F9D5F4D5-9454-45C5-AFC0-38A7887A0E87}" vid="{A7535069-094F-4B33-8094-ED35EDC7CF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F02E0EF7D44C04B9FA644DBFF45FF6A" ma:contentTypeVersion="13" ma:contentTypeDescription="Create a new document." ma:contentTypeScope="" ma:versionID="206b9469efed5238e3299da57cdc015e">
  <xsd:schema xmlns:xsd="http://www.w3.org/2001/XMLSchema" xmlns:xs="http://www.w3.org/2001/XMLSchema" xmlns:p="http://schemas.microsoft.com/office/2006/metadata/properties" xmlns:ns2="876de33e-aaa5-4507-9b92-b84e676ded0d" xmlns:ns3="ef88797d-310b-4d46-ad9c-0c23fa0c8d45" targetNamespace="http://schemas.microsoft.com/office/2006/metadata/properties" ma:root="true" ma:fieldsID="281ed500249cd3fe925a7af84a8b56c4" ns2:_="" ns3:_="">
    <xsd:import namespace="876de33e-aaa5-4507-9b92-b84e676ded0d"/>
    <xsd:import namespace="ef88797d-310b-4d46-ad9c-0c23fa0c8d45"/>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EventHashCode" minOccurs="0"/>
                <xsd:element ref="ns3:MediaServiceGenerationTime" minOccurs="0"/>
                <xsd:element ref="ns3:MediaServiceAutoKeyPoints" minOccurs="0"/>
                <xsd:element ref="ns3:MediaServiceKeyPoints" minOccurs="0"/>
                <xsd:element ref="ns3:MediaServiceAutoTag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6de33e-aaa5-4507-9b92-b84e676ded0d"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f88797d-310b-4d46-ad9c-0c23fa0c8d45"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fals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ef88797d-310b-4d46-ad9c-0c23fa0c8d45" xsi:nil="true"/>
  </documentManagement>
</p:properties>
</file>

<file path=customXml/itemProps1.xml><?xml version="1.0" encoding="utf-8"?>
<ds:datastoreItem xmlns:ds="http://schemas.openxmlformats.org/officeDocument/2006/customXml" ds:itemID="{B39800E7-4362-4A70-9B48-B5AE1C9F476B}">
  <ds:schemaRefs>
    <ds:schemaRef ds:uri="http://schemas.microsoft.com/sharepoint/v3/contenttype/forms"/>
  </ds:schemaRefs>
</ds:datastoreItem>
</file>

<file path=customXml/itemProps2.xml><?xml version="1.0" encoding="utf-8"?>
<ds:datastoreItem xmlns:ds="http://schemas.openxmlformats.org/officeDocument/2006/customXml" ds:itemID="{7F83B94A-925B-4414-927F-DFD616E23C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6de33e-aaa5-4507-9b92-b84e676ded0d"/>
    <ds:schemaRef ds:uri="ef88797d-310b-4d46-ad9c-0c23fa0c8d4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9AD2B3-D789-4FC7-A14D-89ADA76B73A8}">
  <ds:schemaRefs>
    <ds:schemaRef ds:uri="http://schemas.microsoft.com/office/2006/metadata/properties"/>
    <ds:schemaRef ds:uri="http://schemas.microsoft.com/office/infopath/2007/PartnerControls"/>
    <ds:schemaRef ds:uri="ef88797d-310b-4d46-ad9c-0c23fa0c8d45"/>
  </ds:schemaRefs>
</ds:datastoreItem>
</file>

<file path=docMetadata/LabelInfo.xml><?xml version="1.0" encoding="utf-8"?>
<clbl:labelList xmlns:clbl="http://schemas.microsoft.com/office/2020/mipLabelMetadata">
  <clbl:label id="{f7f8f12d-b94b-436d-8303-cf6843bc2c4c}" enabled="1" method="Standard" siteId="{3d44215d-7452-42ba-bfd4-94d4f26cfd84}" contentBits="0" removed="0"/>
</clbl:labelList>
</file>

<file path=docProps/app.xml><?xml version="1.0" encoding="utf-8"?>
<Properties xmlns="http://schemas.openxmlformats.org/officeDocument/2006/extended-properties" xmlns:vt="http://schemas.openxmlformats.org/officeDocument/2006/docPropsVTypes">
  <Template>Magazine layout</Template>
  <TotalTime>0</TotalTime>
  <Words>4451</Words>
  <Application>Microsoft Office PowerPoint</Application>
  <PresentationFormat>Widescreen</PresentationFormat>
  <Paragraphs>382</Paragraphs>
  <Slides>65</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2" baseType="lpstr">
      <vt:lpstr>-apple-system</vt:lpstr>
      <vt:lpstr>Arial</vt:lpstr>
      <vt:lpstr>Calibri</vt:lpstr>
      <vt:lpstr>Montserrat</vt:lpstr>
      <vt:lpstr>var(--artdeco-reset-typography-font-family-san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ont cover</dc:title>
  <dc:creator>Samantha Carty</dc:creator>
  <cp:keywords>, docId:A27551492E43001B87AB49FEAB08C217</cp:keywords>
  <cp:lastModifiedBy>aine hamill</cp:lastModifiedBy>
  <cp:revision>422</cp:revision>
  <dcterms:created xsi:type="dcterms:W3CDTF">2021-06-15T11:45:52Z</dcterms:created>
  <dcterms:modified xsi:type="dcterms:W3CDTF">2025-05-16T14:52: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02E0EF7D44C04B9FA644DBFF45FF6A</vt:lpwstr>
  </property>
</Properties>
</file>